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25"/>
  </p:notesMasterIdLst>
  <p:handoutMasterIdLst>
    <p:handoutMasterId r:id="rId26"/>
  </p:handoutMasterIdLst>
  <p:sldIdLst>
    <p:sldId id="3354" r:id="rId5"/>
    <p:sldId id="3380" r:id="rId6"/>
    <p:sldId id="3356" r:id="rId7"/>
    <p:sldId id="3357" r:id="rId8"/>
    <p:sldId id="3361" r:id="rId9"/>
    <p:sldId id="3360" r:id="rId10"/>
    <p:sldId id="3362" r:id="rId11"/>
    <p:sldId id="3363" r:id="rId12"/>
    <p:sldId id="3366" r:id="rId13"/>
    <p:sldId id="3364" r:id="rId14"/>
    <p:sldId id="3367" r:id="rId15"/>
    <p:sldId id="3365" r:id="rId16"/>
    <p:sldId id="3368" r:id="rId17"/>
    <p:sldId id="3369" r:id="rId18"/>
    <p:sldId id="3370" r:id="rId19"/>
    <p:sldId id="3371" r:id="rId20"/>
    <p:sldId id="3372" r:id="rId21"/>
    <p:sldId id="3376" r:id="rId22"/>
    <p:sldId id="3375" r:id="rId23"/>
    <p:sldId id="3381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1pPr>
    <a:lvl2pPr marL="509361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2pPr>
    <a:lvl3pPr marL="1018721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3pPr>
    <a:lvl4pPr marL="1528082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4pPr>
    <a:lvl5pPr marL="2037443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5pPr>
    <a:lvl6pPr marL="2546804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6pPr>
    <a:lvl7pPr marL="3056165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7pPr>
    <a:lvl8pPr marL="3565526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8pPr>
    <a:lvl9pPr marL="4074887" algn="l" defTabSz="1018721" rtl="0" eaLnBrk="1" latinLnBrk="0" hangingPunct="1">
      <a:defRPr sz="198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" userDrawn="1">
          <p15:clr>
            <a:srgbClr val="A4A3A4"/>
          </p15:clr>
        </p15:guide>
        <p15:guide id="2" orient="horz" pos="552" userDrawn="1">
          <p15:clr>
            <a:srgbClr val="A4A3A4"/>
          </p15:clr>
        </p15:guide>
        <p15:guide id="3" orient="horz" pos="672" userDrawn="1">
          <p15:clr>
            <a:srgbClr val="A4A3A4"/>
          </p15:clr>
        </p15:guide>
        <p15:guide id="4" orient="horz" pos="1104" userDrawn="1">
          <p15:clr>
            <a:srgbClr val="A4A3A4"/>
          </p15:clr>
        </p15:guide>
        <p15:guide id="5" orient="horz" pos="1224" userDrawn="1">
          <p15:clr>
            <a:srgbClr val="A4A3A4"/>
          </p15:clr>
        </p15:guide>
        <p15:guide id="6" orient="horz" pos="1656" userDrawn="1">
          <p15:clr>
            <a:srgbClr val="A4A3A4"/>
          </p15:clr>
        </p15:guide>
        <p15:guide id="7" orient="horz" pos="1776" userDrawn="1">
          <p15:clr>
            <a:srgbClr val="A4A3A4"/>
          </p15:clr>
        </p15:guide>
        <p15:guide id="8" orient="horz" pos="2208" userDrawn="1">
          <p15:clr>
            <a:srgbClr val="A4A3A4"/>
          </p15:clr>
        </p15:guide>
        <p15:guide id="9" orient="horz" pos="2328" userDrawn="1">
          <p15:clr>
            <a:srgbClr val="A4A3A4"/>
          </p15:clr>
        </p15:guide>
        <p15:guide id="10" orient="horz" pos="2760" userDrawn="1">
          <p15:clr>
            <a:srgbClr val="A4A3A4"/>
          </p15:clr>
        </p15:guide>
        <p15:guide id="11" orient="horz" pos="2880" userDrawn="1">
          <p15:clr>
            <a:srgbClr val="A4A3A4"/>
          </p15:clr>
        </p15:guide>
        <p15:guide id="12" orient="horz" pos="3312" userDrawn="1">
          <p15:clr>
            <a:srgbClr val="A4A3A4"/>
          </p15:clr>
        </p15:guide>
        <p15:guide id="13" orient="horz" pos="3432" userDrawn="1">
          <p15:clr>
            <a:srgbClr val="A4A3A4"/>
          </p15:clr>
        </p15:guide>
        <p15:guide id="15" pos="240" userDrawn="1">
          <p15:clr>
            <a:srgbClr val="A4A3A4"/>
          </p15:clr>
        </p15:guide>
        <p15:guide id="16" pos="720" userDrawn="1">
          <p15:clr>
            <a:srgbClr val="A4A3A4"/>
          </p15:clr>
        </p15:guide>
        <p15:guide id="17" pos="840" userDrawn="1">
          <p15:clr>
            <a:srgbClr val="A4A3A4"/>
          </p15:clr>
        </p15:guide>
        <p15:guide id="18" pos="1462" userDrawn="1">
          <p15:clr>
            <a:srgbClr val="A4A3A4"/>
          </p15:clr>
        </p15:guide>
        <p15:guide id="19" pos="1944" userDrawn="1">
          <p15:clr>
            <a:srgbClr val="A4A3A4"/>
          </p15:clr>
        </p15:guide>
        <p15:guide id="20" pos="2064" userDrawn="1">
          <p15:clr>
            <a:srgbClr val="A4A3A4"/>
          </p15:clr>
        </p15:guide>
        <p15:guide id="21" pos="2568" userDrawn="1">
          <p15:clr>
            <a:srgbClr val="A4A3A4"/>
          </p15:clr>
        </p15:guide>
        <p15:guide id="22" pos="2664" userDrawn="1">
          <p15:clr>
            <a:srgbClr val="A4A3A4"/>
          </p15:clr>
        </p15:guide>
        <p15:guide id="23" pos="3168" userDrawn="1">
          <p15:clr>
            <a:srgbClr val="A4A3A4"/>
          </p15:clr>
        </p15:guide>
        <p15:guide id="24" pos="3288" userDrawn="1">
          <p15:clr>
            <a:srgbClr val="A4A3A4"/>
          </p15:clr>
        </p15:guide>
        <p15:guide id="25" pos="3768" userDrawn="1">
          <p15:clr>
            <a:srgbClr val="A4A3A4"/>
          </p15:clr>
        </p15:guide>
        <p15:guide id="26" pos="3893" userDrawn="1">
          <p15:clr>
            <a:srgbClr val="A4A3A4"/>
          </p15:clr>
        </p15:guide>
        <p15:guide id="27" pos="4392" userDrawn="1">
          <p15:clr>
            <a:srgbClr val="A4A3A4"/>
          </p15:clr>
        </p15:guide>
        <p15:guide id="28" pos="4512" userDrawn="1">
          <p15:clr>
            <a:srgbClr val="A4A3A4"/>
          </p15:clr>
        </p15:guide>
        <p15:guide id="29" pos="4992" userDrawn="1">
          <p15:clr>
            <a:srgbClr val="A4A3A4"/>
          </p15:clr>
        </p15:guide>
        <p15:guide id="30" pos="5106" userDrawn="1">
          <p15:clr>
            <a:srgbClr val="A4A3A4"/>
          </p15:clr>
        </p15:guide>
        <p15:guide id="31" pos="5617" userDrawn="1">
          <p15:clr>
            <a:srgbClr val="A4A3A4"/>
          </p15:clr>
        </p15:guide>
        <p15:guide id="32" pos="5712" userDrawn="1">
          <p15:clr>
            <a:srgbClr val="A4A3A4"/>
          </p15:clr>
        </p15:guide>
        <p15:guide id="33" pos="6216" userDrawn="1">
          <p15:clr>
            <a:srgbClr val="A4A3A4"/>
          </p15:clr>
        </p15:guide>
        <p15:guide id="34" pos="6336" userDrawn="1">
          <p15:clr>
            <a:srgbClr val="A4A3A4"/>
          </p15:clr>
        </p15:guide>
        <p15:guide id="35" pos="6816" userDrawn="1">
          <p15:clr>
            <a:srgbClr val="A4A3A4"/>
          </p15:clr>
        </p15:guide>
        <p15:guide id="36" pos="6936" userDrawn="1">
          <p15:clr>
            <a:srgbClr val="A4A3A4"/>
          </p15:clr>
        </p15:guide>
        <p15:guide id="37" pos="7442" userDrawn="1">
          <p15:clr>
            <a:srgbClr val="A4A3A4"/>
          </p15:clr>
        </p15:guide>
        <p15:guide id="38" pos="1344" userDrawn="1">
          <p15:clr>
            <a:srgbClr val="A4A3A4"/>
          </p15:clr>
        </p15:guide>
        <p15:guide id="39" orient="horz" pos="3864" userDrawn="1">
          <p15:clr>
            <a:srgbClr val="A4A3A4"/>
          </p15:clr>
        </p15:guide>
        <p15:guide id="40" orient="horz" pos="39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19314A"/>
    <a:srgbClr val="313335"/>
    <a:srgbClr val="0BA6E0"/>
    <a:srgbClr val="FAFAFA"/>
    <a:srgbClr val="FFFFFF"/>
    <a:srgbClr val="FDFDFD"/>
    <a:srgbClr val="E4E4E4"/>
    <a:srgbClr val="F4F4F4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17" d="100"/>
          <a:sy n="117" d="100"/>
        </p:scale>
        <p:origin x="808" y="168"/>
      </p:cViewPr>
      <p:guideLst>
        <p:guide orient="horz" pos="120"/>
        <p:guide orient="horz" pos="552"/>
        <p:guide orient="horz" pos="672"/>
        <p:guide orient="horz" pos="1104"/>
        <p:guide orient="horz" pos="1224"/>
        <p:guide orient="horz" pos="1656"/>
        <p:guide orient="horz" pos="1776"/>
        <p:guide orient="horz" pos="2208"/>
        <p:guide orient="horz" pos="2328"/>
        <p:guide orient="horz" pos="2760"/>
        <p:guide orient="horz" pos="2880"/>
        <p:guide orient="horz" pos="3312"/>
        <p:guide orient="horz" pos="3432"/>
        <p:guide pos="240"/>
        <p:guide pos="720"/>
        <p:guide pos="840"/>
        <p:guide pos="1462"/>
        <p:guide pos="1944"/>
        <p:guide pos="2064"/>
        <p:guide pos="2568"/>
        <p:guide pos="2664"/>
        <p:guide pos="3168"/>
        <p:guide pos="3288"/>
        <p:guide pos="3768"/>
        <p:guide pos="3893"/>
        <p:guide pos="4392"/>
        <p:guide pos="4512"/>
        <p:guide pos="4992"/>
        <p:guide pos="5106"/>
        <p:guide pos="5617"/>
        <p:guide pos="5712"/>
        <p:guide pos="6216"/>
        <p:guide pos="6336"/>
        <p:guide pos="6816"/>
        <p:guide pos="6936"/>
        <p:guide pos="7442"/>
        <p:guide pos="1344"/>
        <p:guide orient="horz" pos="3864"/>
        <p:guide orient="horz" pos="398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ve Panetta" userId="8d5d315f-a0b8-4579-a6fb-0b2ebc7903ef" providerId="ADAL" clId="{80AAAF54-BEA6-9A46-9003-088F8BCD6785}"/>
    <pc:docChg chg="undo custSel addSld delSld modSld">
      <pc:chgData name="Steve Panetta" userId="8d5d315f-a0b8-4579-a6fb-0b2ebc7903ef" providerId="ADAL" clId="{80AAAF54-BEA6-9A46-9003-088F8BCD6785}" dt="2024-03-26T20:37:24.242" v="31" actId="2696"/>
      <pc:docMkLst>
        <pc:docMk/>
      </pc:docMkLst>
      <pc:sldChg chg="del">
        <pc:chgData name="Steve Panetta" userId="8d5d315f-a0b8-4579-a6fb-0b2ebc7903ef" providerId="ADAL" clId="{80AAAF54-BEA6-9A46-9003-088F8BCD6785}" dt="2024-03-26T20:37:24.178" v="21" actId="2696"/>
        <pc:sldMkLst>
          <pc:docMk/>
          <pc:sldMk cId="3534773634" sldId="282"/>
        </pc:sldMkLst>
      </pc:sldChg>
      <pc:sldChg chg="addSp delSp modSp del mod">
        <pc:chgData name="Steve Panetta" userId="8d5d315f-a0b8-4579-a6fb-0b2ebc7903ef" providerId="ADAL" clId="{80AAAF54-BEA6-9A46-9003-088F8BCD6785}" dt="2024-03-26T20:37:24.181" v="24" actId="2696"/>
        <pc:sldMkLst>
          <pc:docMk/>
          <pc:sldMk cId="3813422474" sldId="3260"/>
        </pc:sldMkLst>
        <pc:picChg chg="add del mod">
          <ac:chgData name="Steve Panetta" userId="8d5d315f-a0b8-4579-a6fb-0b2ebc7903ef" providerId="ADAL" clId="{80AAAF54-BEA6-9A46-9003-088F8BCD6785}" dt="2024-03-26T20:36:01.196" v="1" actId="478"/>
          <ac:picMkLst>
            <pc:docMk/>
            <pc:sldMk cId="3813422474" sldId="3260"/>
            <ac:picMk id="6" creationId="{CADC1D19-054D-993E-2CE2-5FBB7E0A33E5}"/>
          </ac:picMkLst>
        </pc:picChg>
      </pc:sldChg>
      <pc:sldChg chg="del">
        <pc:chgData name="Steve Panetta" userId="8d5d315f-a0b8-4579-a6fb-0b2ebc7903ef" providerId="ADAL" clId="{80AAAF54-BEA6-9A46-9003-088F8BCD6785}" dt="2024-03-26T20:37:23.762" v="19" actId="2696"/>
        <pc:sldMkLst>
          <pc:docMk/>
          <pc:sldMk cId="1722741524" sldId="3263"/>
        </pc:sldMkLst>
      </pc:sldChg>
      <pc:sldChg chg="del">
        <pc:chgData name="Steve Panetta" userId="8d5d315f-a0b8-4579-a6fb-0b2ebc7903ef" providerId="ADAL" clId="{80AAAF54-BEA6-9A46-9003-088F8BCD6785}" dt="2024-03-26T20:37:24.207" v="29" actId="2696"/>
        <pc:sldMkLst>
          <pc:docMk/>
          <pc:sldMk cId="2577633837" sldId="3290"/>
        </pc:sldMkLst>
      </pc:sldChg>
      <pc:sldChg chg="del">
        <pc:chgData name="Steve Panetta" userId="8d5d315f-a0b8-4579-a6fb-0b2ebc7903ef" providerId="ADAL" clId="{80AAAF54-BEA6-9A46-9003-088F8BCD6785}" dt="2024-03-26T20:37:24.206" v="28" actId="2696"/>
        <pc:sldMkLst>
          <pc:docMk/>
          <pc:sldMk cId="3824486697" sldId="3291"/>
        </pc:sldMkLst>
      </pc:sldChg>
      <pc:sldChg chg="del">
        <pc:chgData name="Steve Panetta" userId="8d5d315f-a0b8-4579-a6fb-0b2ebc7903ef" providerId="ADAL" clId="{80AAAF54-BEA6-9A46-9003-088F8BCD6785}" dt="2024-03-26T20:37:24.179" v="22" actId="2696"/>
        <pc:sldMkLst>
          <pc:docMk/>
          <pc:sldMk cId="1294343567" sldId="3292"/>
        </pc:sldMkLst>
      </pc:sldChg>
      <pc:sldChg chg="del">
        <pc:chgData name="Steve Panetta" userId="8d5d315f-a0b8-4579-a6fb-0b2ebc7903ef" providerId="ADAL" clId="{80AAAF54-BEA6-9A46-9003-088F8BCD6785}" dt="2024-03-26T20:37:24.217" v="30" actId="2696"/>
        <pc:sldMkLst>
          <pc:docMk/>
          <pc:sldMk cId="3256114558" sldId="3293"/>
        </pc:sldMkLst>
      </pc:sldChg>
      <pc:sldChg chg="del">
        <pc:chgData name="Steve Panetta" userId="8d5d315f-a0b8-4579-a6fb-0b2ebc7903ef" providerId="ADAL" clId="{80AAAF54-BEA6-9A46-9003-088F8BCD6785}" dt="2024-03-26T20:37:23.763" v="20" actId="2696"/>
        <pc:sldMkLst>
          <pc:docMk/>
          <pc:sldMk cId="2187907245" sldId="3294"/>
        </pc:sldMkLst>
      </pc:sldChg>
      <pc:sldChg chg="del">
        <pc:chgData name="Steve Panetta" userId="8d5d315f-a0b8-4579-a6fb-0b2ebc7903ef" providerId="ADAL" clId="{80AAAF54-BEA6-9A46-9003-088F8BCD6785}" dt="2024-03-26T20:37:23.759" v="16" actId="2696"/>
        <pc:sldMkLst>
          <pc:docMk/>
          <pc:sldMk cId="2533921932" sldId="3295"/>
        </pc:sldMkLst>
      </pc:sldChg>
      <pc:sldChg chg="del">
        <pc:chgData name="Steve Panetta" userId="8d5d315f-a0b8-4579-a6fb-0b2ebc7903ef" providerId="ADAL" clId="{80AAAF54-BEA6-9A46-9003-088F8BCD6785}" dt="2024-03-26T20:37:23.761" v="17" actId="2696"/>
        <pc:sldMkLst>
          <pc:docMk/>
          <pc:sldMk cId="4034452453" sldId="3340"/>
        </pc:sldMkLst>
      </pc:sldChg>
      <pc:sldChg chg="del">
        <pc:chgData name="Steve Panetta" userId="8d5d315f-a0b8-4579-a6fb-0b2ebc7903ef" providerId="ADAL" clId="{80AAAF54-BEA6-9A46-9003-088F8BCD6785}" dt="2024-03-26T20:37:24.242" v="31" actId="2696"/>
        <pc:sldMkLst>
          <pc:docMk/>
          <pc:sldMk cId="2839482502" sldId="3341"/>
        </pc:sldMkLst>
      </pc:sldChg>
      <pc:sldChg chg="del">
        <pc:chgData name="Steve Panetta" userId="8d5d315f-a0b8-4579-a6fb-0b2ebc7903ef" providerId="ADAL" clId="{80AAAF54-BEA6-9A46-9003-088F8BCD6785}" dt="2024-03-26T20:37:23.761" v="18" actId="2696"/>
        <pc:sldMkLst>
          <pc:docMk/>
          <pc:sldMk cId="3555918706" sldId="3342"/>
        </pc:sldMkLst>
      </pc:sldChg>
      <pc:sldChg chg="del">
        <pc:chgData name="Steve Panetta" userId="8d5d315f-a0b8-4579-a6fb-0b2ebc7903ef" providerId="ADAL" clId="{80AAAF54-BEA6-9A46-9003-088F8BCD6785}" dt="2024-03-26T20:37:24.180" v="23" actId="2696"/>
        <pc:sldMkLst>
          <pc:docMk/>
          <pc:sldMk cId="1039880514" sldId="3343"/>
        </pc:sldMkLst>
      </pc:sldChg>
      <pc:sldChg chg="del">
        <pc:chgData name="Steve Panetta" userId="8d5d315f-a0b8-4579-a6fb-0b2ebc7903ef" providerId="ADAL" clId="{80AAAF54-BEA6-9A46-9003-088F8BCD6785}" dt="2024-03-26T20:37:23.746" v="14" actId="2696"/>
        <pc:sldMkLst>
          <pc:docMk/>
          <pc:sldMk cId="2739888693" sldId="3344"/>
        </pc:sldMkLst>
      </pc:sldChg>
      <pc:sldChg chg="del">
        <pc:chgData name="Steve Panetta" userId="8d5d315f-a0b8-4579-a6fb-0b2ebc7903ef" providerId="ADAL" clId="{80AAAF54-BEA6-9A46-9003-088F8BCD6785}" dt="2024-03-26T20:37:24.205" v="27" actId="2696"/>
        <pc:sldMkLst>
          <pc:docMk/>
          <pc:sldMk cId="2258142498" sldId="3345"/>
        </pc:sldMkLst>
      </pc:sldChg>
      <pc:sldChg chg="del">
        <pc:chgData name="Steve Panetta" userId="8d5d315f-a0b8-4579-a6fb-0b2ebc7903ef" providerId="ADAL" clId="{80AAAF54-BEA6-9A46-9003-088F8BCD6785}" dt="2024-03-26T20:37:24.181" v="25" actId="2696"/>
        <pc:sldMkLst>
          <pc:docMk/>
          <pc:sldMk cId="4292145189" sldId="3346"/>
        </pc:sldMkLst>
      </pc:sldChg>
      <pc:sldChg chg="del">
        <pc:chgData name="Steve Panetta" userId="8d5d315f-a0b8-4579-a6fb-0b2ebc7903ef" providerId="ADAL" clId="{80AAAF54-BEA6-9A46-9003-088F8BCD6785}" dt="2024-03-26T20:37:24.194" v="26" actId="2696"/>
        <pc:sldMkLst>
          <pc:docMk/>
          <pc:sldMk cId="3437306989" sldId="3347"/>
        </pc:sldMkLst>
      </pc:sldChg>
      <pc:sldChg chg="del">
        <pc:chgData name="Steve Panetta" userId="8d5d315f-a0b8-4579-a6fb-0b2ebc7903ef" providerId="ADAL" clId="{80AAAF54-BEA6-9A46-9003-088F8BCD6785}" dt="2024-03-26T20:37:23.744" v="13" actId="2696"/>
        <pc:sldMkLst>
          <pc:docMk/>
          <pc:sldMk cId="1658123787" sldId="3351"/>
        </pc:sldMkLst>
      </pc:sldChg>
      <pc:sldChg chg="del">
        <pc:chgData name="Steve Panetta" userId="8d5d315f-a0b8-4579-a6fb-0b2ebc7903ef" providerId="ADAL" clId="{80AAAF54-BEA6-9A46-9003-088F8BCD6785}" dt="2024-03-26T20:37:23.758" v="15" actId="2696"/>
        <pc:sldMkLst>
          <pc:docMk/>
          <pc:sldMk cId="2505359252" sldId="3353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823266241" sldId="3354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3937648831" sldId="3356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933823441" sldId="3357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3960997042" sldId="3360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94404421" sldId="3361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2623735421" sldId="3362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2293095253" sldId="3363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2662298049" sldId="3364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3343163395" sldId="3365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2879550882" sldId="3366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1295350445" sldId="3367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3945639039" sldId="3368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2689117766" sldId="3369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2655742081" sldId="3370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337225924" sldId="3371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514245371" sldId="3372"/>
        </pc:sldMkLst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2787503214" sldId="3375"/>
        </pc:sldMkLst>
      </pc:sldChg>
      <pc:sldChg chg="modSp add mod">
        <pc:chgData name="Steve Panetta" userId="8d5d315f-a0b8-4579-a6fb-0b2ebc7903ef" providerId="ADAL" clId="{80AAAF54-BEA6-9A46-9003-088F8BCD6785}" dt="2024-03-26T20:37:13.017" v="12" actId="207"/>
        <pc:sldMkLst>
          <pc:docMk/>
          <pc:sldMk cId="838437960" sldId="3376"/>
        </pc:sldMkLst>
        <pc:spChg chg="mod">
          <ac:chgData name="Steve Panetta" userId="8d5d315f-a0b8-4579-a6fb-0b2ebc7903ef" providerId="ADAL" clId="{80AAAF54-BEA6-9A46-9003-088F8BCD6785}" dt="2024-03-26T20:37:13.017" v="12" actId="207"/>
          <ac:spMkLst>
            <pc:docMk/>
            <pc:sldMk cId="838437960" sldId="3376"/>
            <ac:spMk id="7" creationId="{1E792722-A64A-F5A4-3E9C-C8B3ADCBACDE}"/>
          </ac:spMkLst>
        </pc:spChg>
        <pc:spChg chg="mod">
          <ac:chgData name="Steve Panetta" userId="8d5d315f-a0b8-4579-a6fb-0b2ebc7903ef" providerId="ADAL" clId="{80AAAF54-BEA6-9A46-9003-088F8BCD6785}" dt="2024-03-26T20:37:13.017" v="12" actId="207"/>
          <ac:spMkLst>
            <pc:docMk/>
            <pc:sldMk cId="838437960" sldId="3376"/>
            <ac:spMk id="8" creationId="{EA9247F9-1F7E-46A6-1971-0439581E1D10}"/>
          </ac:spMkLst>
        </pc:spChg>
        <pc:spChg chg="mod">
          <ac:chgData name="Steve Panetta" userId="8d5d315f-a0b8-4579-a6fb-0b2ebc7903ef" providerId="ADAL" clId="{80AAAF54-BEA6-9A46-9003-088F8BCD6785}" dt="2024-03-26T20:37:13.017" v="12" actId="207"/>
          <ac:spMkLst>
            <pc:docMk/>
            <pc:sldMk cId="838437960" sldId="3376"/>
            <ac:spMk id="9" creationId="{3CF77D4B-28D5-EA74-95E1-DA583C25C882}"/>
          </ac:spMkLst>
        </pc:spChg>
        <pc:spChg chg="mod">
          <ac:chgData name="Steve Panetta" userId="8d5d315f-a0b8-4579-a6fb-0b2ebc7903ef" providerId="ADAL" clId="{80AAAF54-BEA6-9A46-9003-088F8BCD6785}" dt="2024-03-26T20:37:13.017" v="12" actId="207"/>
          <ac:spMkLst>
            <pc:docMk/>
            <pc:sldMk cId="838437960" sldId="3376"/>
            <ac:spMk id="10" creationId="{9AFE04D8-CC4F-66A0-2B51-B2956F8FB8A9}"/>
          </ac:spMkLst>
        </pc:spChg>
      </pc:sldChg>
      <pc:sldChg chg="add">
        <pc:chgData name="Steve Panetta" userId="8d5d315f-a0b8-4579-a6fb-0b2ebc7903ef" providerId="ADAL" clId="{80AAAF54-BEA6-9A46-9003-088F8BCD6785}" dt="2024-03-26T20:36:08.906" v="2"/>
        <pc:sldMkLst>
          <pc:docMk/>
          <pc:sldMk cId="3303971082" sldId="3380"/>
        </pc:sldMkLst>
      </pc:sldChg>
    </pc:docChg>
  </pc:docChgLst>
  <pc:docChgLst>
    <pc:chgData name="Nikki Baird" userId="c5f39c88-e1ef-4b70-aeb8-23005ac7aa7b" providerId="ADAL" clId="{7DD6C16D-B14F-0840-B904-9BBB4FAB0DAB}"/>
    <pc:docChg chg="addSld delSld modSld">
      <pc:chgData name="Nikki Baird" userId="c5f39c88-e1ef-4b70-aeb8-23005ac7aa7b" providerId="ADAL" clId="{7DD6C16D-B14F-0840-B904-9BBB4FAB0DAB}" dt="2024-05-07T02:31:32.077" v="52" actId="20577"/>
      <pc:docMkLst>
        <pc:docMk/>
      </pc:docMkLst>
      <pc:sldChg chg="modSp mod">
        <pc:chgData name="Nikki Baird" userId="c5f39c88-e1ef-4b70-aeb8-23005ac7aa7b" providerId="ADAL" clId="{7DD6C16D-B14F-0840-B904-9BBB4FAB0DAB}" dt="2024-05-07T02:30:27.760" v="20" actId="20577"/>
        <pc:sldMkLst>
          <pc:docMk/>
          <pc:sldMk cId="823266241" sldId="3354"/>
        </pc:sldMkLst>
        <pc:spChg chg="mod">
          <ac:chgData name="Nikki Baird" userId="c5f39c88-e1ef-4b70-aeb8-23005ac7aa7b" providerId="ADAL" clId="{7DD6C16D-B14F-0840-B904-9BBB4FAB0DAB}" dt="2024-05-07T02:30:27.760" v="20" actId="20577"/>
          <ac:spMkLst>
            <pc:docMk/>
            <pc:sldMk cId="823266241" sldId="3354"/>
            <ac:spMk id="5" creationId="{25F1F774-707D-4D38-3E9B-5F3856B6EF0E}"/>
          </ac:spMkLst>
        </pc:spChg>
      </pc:sldChg>
      <pc:sldChg chg="modSp mod">
        <pc:chgData name="Nikki Baird" userId="c5f39c88-e1ef-4b70-aeb8-23005ac7aa7b" providerId="ADAL" clId="{7DD6C16D-B14F-0840-B904-9BBB4FAB0DAB}" dt="2024-05-07T02:31:11.925" v="26" actId="113"/>
        <pc:sldMkLst>
          <pc:docMk/>
          <pc:sldMk cId="2787503214" sldId="3375"/>
        </pc:sldMkLst>
        <pc:spChg chg="mod">
          <ac:chgData name="Nikki Baird" userId="c5f39c88-e1ef-4b70-aeb8-23005ac7aa7b" providerId="ADAL" clId="{7DD6C16D-B14F-0840-B904-9BBB4FAB0DAB}" dt="2024-05-07T02:30:50.622" v="22" actId="113"/>
          <ac:spMkLst>
            <pc:docMk/>
            <pc:sldMk cId="2787503214" sldId="3375"/>
            <ac:spMk id="13" creationId="{CD2D9354-8EB9-A8F6-1951-5C574175FA8F}"/>
          </ac:spMkLst>
        </pc:spChg>
        <pc:spChg chg="mod">
          <ac:chgData name="Nikki Baird" userId="c5f39c88-e1ef-4b70-aeb8-23005ac7aa7b" providerId="ADAL" clId="{7DD6C16D-B14F-0840-B904-9BBB4FAB0DAB}" dt="2024-05-07T02:30:59.899" v="24" actId="113"/>
          <ac:spMkLst>
            <pc:docMk/>
            <pc:sldMk cId="2787503214" sldId="3375"/>
            <ac:spMk id="18" creationId="{9F2FD429-AEBD-3A44-4CA3-51240806B085}"/>
          </ac:spMkLst>
        </pc:spChg>
        <pc:spChg chg="mod">
          <ac:chgData name="Nikki Baird" userId="c5f39c88-e1ef-4b70-aeb8-23005ac7aa7b" providerId="ADAL" clId="{7DD6C16D-B14F-0840-B904-9BBB4FAB0DAB}" dt="2024-05-07T02:31:05.683" v="25" actId="113"/>
          <ac:spMkLst>
            <pc:docMk/>
            <pc:sldMk cId="2787503214" sldId="3375"/>
            <ac:spMk id="21" creationId="{4697FD04-F97A-E7C9-7E7B-D24E170679FA}"/>
          </ac:spMkLst>
        </pc:spChg>
        <pc:spChg chg="mod">
          <ac:chgData name="Nikki Baird" userId="c5f39c88-e1ef-4b70-aeb8-23005ac7aa7b" providerId="ADAL" clId="{7DD6C16D-B14F-0840-B904-9BBB4FAB0DAB}" dt="2024-05-07T02:31:11.925" v="26" actId="113"/>
          <ac:spMkLst>
            <pc:docMk/>
            <pc:sldMk cId="2787503214" sldId="3375"/>
            <ac:spMk id="24" creationId="{8397694A-7DC6-5431-A926-75C031C1B3FC}"/>
          </ac:spMkLst>
        </pc:spChg>
      </pc:sldChg>
      <pc:sldChg chg="modSp new mod">
        <pc:chgData name="Nikki Baird" userId="c5f39c88-e1ef-4b70-aeb8-23005ac7aa7b" providerId="ADAL" clId="{7DD6C16D-B14F-0840-B904-9BBB4FAB0DAB}" dt="2024-05-07T02:31:32.077" v="52" actId="20577"/>
        <pc:sldMkLst>
          <pc:docMk/>
          <pc:sldMk cId="1708398341" sldId="3381"/>
        </pc:sldMkLst>
        <pc:spChg chg="mod">
          <ac:chgData name="Nikki Baird" userId="c5f39c88-e1ef-4b70-aeb8-23005ac7aa7b" providerId="ADAL" clId="{7DD6C16D-B14F-0840-B904-9BBB4FAB0DAB}" dt="2024-05-07T02:31:32.077" v="52" actId="20577"/>
          <ac:spMkLst>
            <pc:docMk/>
            <pc:sldMk cId="1708398341" sldId="3381"/>
            <ac:spMk id="2" creationId="{F324E8FC-2310-7D7C-5A5B-94D464DF0C0E}"/>
          </ac:spMkLst>
        </pc:spChg>
      </pc:sldChg>
      <pc:sldChg chg="del">
        <pc:chgData name="Nikki Baird" userId="c5f39c88-e1ef-4b70-aeb8-23005ac7aa7b" providerId="ADAL" clId="{7DD6C16D-B14F-0840-B904-9BBB4FAB0DAB}" dt="2024-05-07T02:30:43.244" v="21" actId="2696"/>
        <pc:sldMkLst>
          <pc:docMk/>
          <pc:sldMk cId="2780033577" sldId="3381"/>
        </pc:sldMkLst>
      </pc:sldChg>
    </pc:docChg>
  </pc:docChgLst>
  <pc:docChgLst>
    <pc:chgData name="Nikki Baird" userId="c5f39c88-e1ef-4b70-aeb8-23005ac7aa7b" providerId="ADAL" clId="{4E1D5350-3217-474F-9A72-660DE1BFB4E6}"/>
    <pc:docChg chg="custSel addSld modSld">
      <pc:chgData name="Nikki Baird" userId="c5f39c88-e1ef-4b70-aeb8-23005ac7aa7b" providerId="ADAL" clId="{4E1D5350-3217-474F-9A72-660DE1BFB4E6}" dt="2024-04-09T19:54:52.646" v="277" actId="478"/>
      <pc:docMkLst>
        <pc:docMk/>
      </pc:docMkLst>
      <pc:sldChg chg="modAnim">
        <pc:chgData name="Nikki Baird" userId="c5f39c88-e1ef-4b70-aeb8-23005ac7aa7b" providerId="ADAL" clId="{4E1D5350-3217-474F-9A72-660DE1BFB4E6}" dt="2024-04-09T19:42:55.467" v="0"/>
        <pc:sldMkLst>
          <pc:docMk/>
          <pc:sldMk cId="2662298049" sldId="3364"/>
        </pc:sldMkLst>
      </pc:sldChg>
      <pc:sldChg chg="addSp delSp modSp mod">
        <pc:chgData name="Nikki Baird" userId="c5f39c88-e1ef-4b70-aeb8-23005ac7aa7b" providerId="ADAL" clId="{4E1D5350-3217-474F-9A72-660DE1BFB4E6}" dt="2024-04-09T19:46:49.939" v="16"/>
        <pc:sldMkLst>
          <pc:docMk/>
          <pc:sldMk cId="3343163395" sldId="3365"/>
        </pc:sldMkLst>
        <pc:spChg chg="add del mod">
          <ac:chgData name="Nikki Baird" userId="c5f39c88-e1ef-4b70-aeb8-23005ac7aa7b" providerId="ADAL" clId="{4E1D5350-3217-474F-9A72-660DE1BFB4E6}" dt="2024-04-09T19:46:49.939" v="16"/>
          <ac:spMkLst>
            <pc:docMk/>
            <pc:sldMk cId="3343163395" sldId="3365"/>
            <ac:spMk id="4" creationId="{D98420A2-613E-F491-1FDF-97FB6F840629}"/>
          </ac:spMkLst>
        </pc:spChg>
        <pc:picChg chg="add del mod modCrop">
          <ac:chgData name="Nikki Baird" userId="c5f39c88-e1ef-4b70-aeb8-23005ac7aa7b" providerId="ADAL" clId="{4E1D5350-3217-474F-9A72-660DE1BFB4E6}" dt="2024-04-09T19:46:46.645" v="14" actId="21"/>
          <ac:picMkLst>
            <pc:docMk/>
            <pc:sldMk cId="3343163395" sldId="3365"/>
            <ac:picMk id="2" creationId="{EF54E0EC-91BB-CB16-2496-B932D6BE0454}"/>
          </ac:picMkLst>
        </pc:picChg>
        <pc:picChg chg="add mod">
          <ac:chgData name="Nikki Baird" userId="c5f39c88-e1ef-4b70-aeb8-23005ac7aa7b" providerId="ADAL" clId="{4E1D5350-3217-474F-9A72-660DE1BFB4E6}" dt="2024-04-09T19:46:49.939" v="16"/>
          <ac:picMkLst>
            <pc:docMk/>
            <pc:sldMk cId="3343163395" sldId="3365"/>
            <ac:picMk id="5" creationId="{AE148DE2-7569-638F-FA60-83A68672A35D}"/>
          </ac:picMkLst>
        </pc:picChg>
        <pc:picChg chg="del">
          <ac:chgData name="Nikki Baird" userId="c5f39c88-e1ef-4b70-aeb8-23005ac7aa7b" providerId="ADAL" clId="{4E1D5350-3217-474F-9A72-660DE1BFB4E6}" dt="2024-04-09T19:46:48.015" v="15" actId="478"/>
          <ac:picMkLst>
            <pc:docMk/>
            <pc:sldMk cId="3343163395" sldId="3365"/>
            <ac:picMk id="24" creationId="{63FA5A9D-A029-4573-FE60-91FCD292C7DF}"/>
          </ac:picMkLst>
        </pc:picChg>
      </pc:sldChg>
      <pc:sldChg chg="addSp delSp modSp mod">
        <pc:chgData name="Nikki Baird" userId="c5f39c88-e1ef-4b70-aeb8-23005ac7aa7b" providerId="ADAL" clId="{4E1D5350-3217-474F-9A72-660DE1BFB4E6}" dt="2024-04-09T19:46:59.938" v="18"/>
        <pc:sldMkLst>
          <pc:docMk/>
          <pc:sldMk cId="3945639039" sldId="3368"/>
        </pc:sldMkLst>
        <pc:spChg chg="add del mod">
          <ac:chgData name="Nikki Baird" userId="c5f39c88-e1ef-4b70-aeb8-23005ac7aa7b" providerId="ADAL" clId="{4E1D5350-3217-474F-9A72-660DE1BFB4E6}" dt="2024-04-09T19:46:59.938" v="18"/>
          <ac:spMkLst>
            <pc:docMk/>
            <pc:sldMk cId="3945639039" sldId="3368"/>
            <ac:spMk id="4" creationId="{24E4AB02-D317-3E95-C2F2-9AA82934E699}"/>
          </ac:spMkLst>
        </pc:spChg>
        <pc:picChg chg="add del mod">
          <ac:chgData name="Nikki Baird" userId="c5f39c88-e1ef-4b70-aeb8-23005ac7aa7b" providerId="ADAL" clId="{4E1D5350-3217-474F-9A72-660DE1BFB4E6}" dt="2024-04-09T19:46:55.835" v="17" actId="21"/>
          <ac:picMkLst>
            <pc:docMk/>
            <pc:sldMk cId="3945639039" sldId="3368"/>
            <ac:picMk id="5" creationId="{28C27BDB-94F4-A87D-0CC2-70D50D98A67E}"/>
          </ac:picMkLst>
        </pc:picChg>
        <pc:picChg chg="add mod">
          <ac:chgData name="Nikki Baird" userId="c5f39c88-e1ef-4b70-aeb8-23005ac7aa7b" providerId="ADAL" clId="{4E1D5350-3217-474F-9A72-660DE1BFB4E6}" dt="2024-04-09T19:46:59.938" v="18"/>
          <ac:picMkLst>
            <pc:docMk/>
            <pc:sldMk cId="3945639039" sldId="3368"/>
            <ac:picMk id="6" creationId="{53C82D7D-B7CB-7950-E5BA-5086293A3FFF}"/>
          </ac:picMkLst>
        </pc:picChg>
        <pc:picChg chg="del">
          <ac:chgData name="Nikki Baird" userId="c5f39c88-e1ef-4b70-aeb8-23005ac7aa7b" providerId="ADAL" clId="{4E1D5350-3217-474F-9A72-660DE1BFB4E6}" dt="2024-04-09T19:46:38.236" v="12" actId="478"/>
          <ac:picMkLst>
            <pc:docMk/>
            <pc:sldMk cId="3945639039" sldId="3368"/>
            <ac:picMk id="24" creationId="{63FA5A9D-A029-4573-FE60-91FCD292C7DF}"/>
          </ac:picMkLst>
        </pc:picChg>
      </pc:sldChg>
      <pc:sldChg chg="addSp delSp modSp new mod modClrScheme chgLayout">
        <pc:chgData name="Nikki Baird" userId="c5f39c88-e1ef-4b70-aeb8-23005ac7aa7b" providerId="ADAL" clId="{4E1D5350-3217-474F-9A72-660DE1BFB4E6}" dt="2024-04-09T19:54:52.646" v="277" actId="478"/>
        <pc:sldMkLst>
          <pc:docMk/>
          <pc:sldMk cId="2780033577" sldId="3381"/>
        </pc:sldMkLst>
        <pc:spChg chg="mod ord">
          <ac:chgData name="Nikki Baird" userId="c5f39c88-e1ef-4b70-aeb8-23005ac7aa7b" providerId="ADAL" clId="{4E1D5350-3217-474F-9A72-660DE1BFB4E6}" dt="2024-04-09T19:49:45.439" v="135" actId="26606"/>
          <ac:spMkLst>
            <pc:docMk/>
            <pc:sldMk cId="2780033577" sldId="3381"/>
            <ac:spMk id="2" creationId="{D0961AAF-BDD2-4057-AF4B-AC0FEDEDD59E}"/>
          </ac:spMkLst>
        </pc:spChg>
        <pc:spChg chg="add mod ord">
          <ac:chgData name="Nikki Baird" userId="c5f39c88-e1ef-4b70-aeb8-23005ac7aa7b" providerId="ADAL" clId="{4E1D5350-3217-474F-9A72-660DE1BFB4E6}" dt="2024-04-09T19:53:29.251" v="276" actId="20577"/>
          <ac:spMkLst>
            <pc:docMk/>
            <pc:sldMk cId="2780033577" sldId="3381"/>
            <ac:spMk id="3" creationId="{8059BE7A-5ADD-A184-35AC-2267F9ED4DBD}"/>
          </ac:spMkLst>
        </pc:spChg>
        <pc:spChg chg="add del mod">
          <ac:chgData name="Nikki Baird" userId="c5f39c88-e1ef-4b70-aeb8-23005ac7aa7b" providerId="ADAL" clId="{4E1D5350-3217-474F-9A72-660DE1BFB4E6}" dt="2024-04-09T19:54:52.646" v="277" actId="478"/>
          <ac:spMkLst>
            <pc:docMk/>
            <pc:sldMk cId="2780033577" sldId="3381"/>
            <ac:spMk id="9" creationId="{D9576BAB-9419-5022-B172-9DD4D341FB02}"/>
          </ac:spMkLst>
        </pc:spChg>
        <pc:picChg chg="add">
          <ac:chgData name="Nikki Baird" userId="c5f39c88-e1ef-4b70-aeb8-23005ac7aa7b" providerId="ADAL" clId="{4E1D5350-3217-474F-9A72-660DE1BFB4E6}" dt="2024-04-09T19:49:45.439" v="135" actId="26606"/>
          <ac:picMkLst>
            <pc:docMk/>
            <pc:sldMk cId="2780033577" sldId="3381"/>
            <ac:picMk id="5" creationId="{631E9B68-04F9-4FED-685F-49B288136E2E}"/>
          </ac:picMkLst>
        </pc:picChg>
      </pc:sldChg>
    </pc:docChg>
  </pc:docChgLst>
  <pc:docChgLst>
    <pc:chgData name="Nikki Baird" userId="c5f39c88-e1ef-4b70-aeb8-23005ac7aa7b" providerId="ADAL" clId="{12FA793D-705B-D64F-9B89-CE89F43222E1}"/>
    <pc:docChg chg="delSld modSld sldOrd">
      <pc:chgData name="Nikki Baird" userId="c5f39c88-e1ef-4b70-aeb8-23005ac7aa7b" providerId="ADAL" clId="{12FA793D-705B-D64F-9B89-CE89F43222E1}" dt="2024-03-22T14:16:23.339" v="137" actId="20577"/>
      <pc:docMkLst>
        <pc:docMk/>
      </pc:docMkLst>
      <pc:sldChg chg="del">
        <pc:chgData name="Nikki Baird" userId="c5f39c88-e1ef-4b70-aeb8-23005ac7aa7b" providerId="ADAL" clId="{12FA793D-705B-D64F-9B89-CE89F43222E1}" dt="2024-03-19T16:40:09.295" v="13" actId="2696"/>
        <pc:sldMkLst>
          <pc:docMk/>
          <pc:sldMk cId="2752522910" sldId="278"/>
        </pc:sldMkLst>
      </pc:sldChg>
      <pc:sldChg chg="del">
        <pc:chgData name="Nikki Baird" userId="c5f39c88-e1ef-4b70-aeb8-23005ac7aa7b" providerId="ADAL" clId="{12FA793D-705B-D64F-9B89-CE89F43222E1}" dt="2024-03-19T16:40:09.324" v="23" actId="2696"/>
        <pc:sldMkLst>
          <pc:docMk/>
          <pc:sldMk cId="2513301222" sldId="335"/>
        </pc:sldMkLst>
      </pc:sldChg>
      <pc:sldChg chg="del">
        <pc:chgData name="Nikki Baird" userId="c5f39c88-e1ef-4b70-aeb8-23005ac7aa7b" providerId="ADAL" clId="{12FA793D-705B-D64F-9B89-CE89F43222E1}" dt="2024-03-19T16:40:09.244" v="2" actId="2696"/>
        <pc:sldMkLst>
          <pc:docMk/>
          <pc:sldMk cId="3997056466" sldId="336"/>
        </pc:sldMkLst>
      </pc:sldChg>
      <pc:sldChg chg="del">
        <pc:chgData name="Nikki Baird" userId="c5f39c88-e1ef-4b70-aeb8-23005ac7aa7b" providerId="ADAL" clId="{12FA793D-705B-D64F-9B89-CE89F43222E1}" dt="2024-03-19T16:40:09.264" v="10" actId="2696"/>
        <pc:sldMkLst>
          <pc:docMk/>
          <pc:sldMk cId="927734090" sldId="337"/>
        </pc:sldMkLst>
      </pc:sldChg>
      <pc:sldChg chg="del">
        <pc:chgData name="Nikki Baird" userId="c5f39c88-e1ef-4b70-aeb8-23005ac7aa7b" providerId="ADAL" clId="{12FA793D-705B-D64F-9B89-CE89F43222E1}" dt="2024-03-19T16:40:09.321" v="22" actId="2696"/>
        <pc:sldMkLst>
          <pc:docMk/>
          <pc:sldMk cId="908657537" sldId="338"/>
        </pc:sldMkLst>
      </pc:sldChg>
      <pc:sldChg chg="del">
        <pc:chgData name="Nikki Baird" userId="c5f39c88-e1ef-4b70-aeb8-23005ac7aa7b" providerId="ADAL" clId="{12FA793D-705B-D64F-9B89-CE89F43222E1}" dt="2024-03-19T16:40:09.318" v="21" actId="2696"/>
        <pc:sldMkLst>
          <pc:docMk/>
          <pc:sldMk cId="4665159" sldId="800"/>
        </pc:sldMkLst>
      </pc:sldChg>
      <pc:sldChg chg="del">
        <pc:chgData name="Nikki Baird" userId="c5f39c88-e1ef-4b70-aeb8-23005ac7aa7b" providerId="ADAL" clId="{12FA793D-705B-D64F-9B89-CE89F43222E1}" dt="2024-03-19T16:40:09.315" v="20" actId="2696"/>
        <pc:sldMkLst>
          <pc:docMk/>
          <pc:sldMk cId="2903097218" sldId="808"/>
        </pc:sldMkLst>
      </pc:sldChg>
      <pc:sldChg chg="del">
        <pc:chgData name="Nikki Baird" userId="c5f39c88-e1ef-4b70-aeb8-23005ac7aa7b" providerId="ADAL" clId="{12FA793D-705B-D64F-9B89-CE89F43222E1}" dt="2024-03-19T16:40:09.247" v="3" actId="2696"/>
        <pc:sldMkLst>
          <pc:docMk/>
          <pc:sldMk cId="2272712246" sldId="820"/>
        </pc:sldMkLst>
      </pc:sldChg>
      <pc:sldChg chg="del">
        <pc:chgData name="Nikki Baird" userId="c5f39c88-e1ef-4b70-aeb8-23005ac7aa7b" providerId="ADAL" clId="{12FA793D-705B-D64F-9B89-CE89F43222E1}" dt="2024-03-19T16:40:09.307" v="17" actId="2696"/>
        <pc:sldMkLst>
          <pc:docMk/>
          <pc:sldMk cId="3420400031" sldId="821"/>
        </pc:sldMkLst>
      </pc:sldChg>
      <pc:sldChg chg="del">
        <pc:chgData name="Nikki Baird" userId="c5f39c88-e1ef-4b70-aeb8-23005ac7aa7b" providerId="ADAL" clId="{12FA793D-705B-D64F-9B89-CE89F43222E1}" dt="2024-03-19T16:40:09.310" v="18" actId="2696"/>
        <pc:sldMkLst>
          <pc:docMk/>
          <pc:sldMk cId="1556184532" sldId="822"/>
        </pc:sldMkLst>
      </pc:sldChg>
      <pc:sldChg chg="del">
        <pc:chgData name="Nikki Baird" userId="c5f39c88-e1ef-4b70-aeb8-23005ac7aa7b" providerId="ADAL" clId="{12FA793D-705B-D64F-9B89-CE89F43222E1}" dt="2024-03-19T16:40:09.241" v="1" actId="2696"/>
        <pc:sldMkLst>
          <pc:docMk/>
          <pc:sldMk cId="3660180887" sldId="823"/>
        </pc:sldMkLst>
      </pc:sldChg>
      <pc:sldChg chg="del">
        <pc:chgData name="Nikki Baird" userId="c5f39c88-e1ef-4b70-aeb8-23005ac7aa7b" providerId="ADAL" clId="{12FA793D-705B-D64F-9B89-CE89F43222E1}" dt="2024-03-19T16:40:09.254" v="6" actId="2696"/>
        <pc:sldMkLst>
          <pc:docMk/>
          <pc:sldMk cId="969631553" sldId="824"/>
        </pc:sldMkLst>
      </pc:sldChg>
      <pc:sldChg chg="del">
        <pc:chgData name="Nikki Baird" userId="c5f39c88-e1ef-4b70-aeb8-23005ac7aa7b" providerId="ADAL" clId="{12FA793D-705B-D64F-9B89-CE89F43222E1}" dt="2024-03-19T16:40:09.250" v="4" actId="2696"/>
        <pc:sldMkLst>
          <pc:docMk/>
          <pc:sldMk cId="3106472569" sldId="828"/>
        </pc:sldMkLst>
      </pc:sldChg>
      <pc:sldChg chg="del">
        <pc:chgData name="Nikki Baird" userId="c5f39c88-e1ef-4b70-aeb8-23005ac7aa7b" providerId="ADAL" clId="{12FA793D-705B-D64F-9B89-CE89F43222E1}" dt="2024-03-19T16:40:09.252" v="5" actId="2696"/>
        <pc:sldMkLst>
          <pc:docMk/>
          <pc:sldMk cId="543993582" sldId="829"/>
        </pc:sldMkLst>
      </pc:sldChg>
      <pc:sldChg chg="del">
        <pc:chgData name="Nikki Baird" userId="c5f39c88-e1ef-4b70-aeb8-23005ac7aa7b" providerId="ADAL" clId="{12FA793D-705B-D64F-9B89-CE89F43222E1}" dt="2024-03-19T16:40:09.259" v="8" actId="2696"/>
        <pc:sldMkLst>
          <pc:docMk/>
          <pc:sldMk cId="1089468731" sldId="830"/>
        </pc:sldMkLst>
      </pc:sldChg>
      <pc:sldChg chg="del">
        <pc:chgData name="Nikki Baird" userId="c5f39c88-e1ef-4b70-aeb8-23005ac7aa7b" providerId="ADAL" clId="{12FA793D-705B-D64F-9B89-CE89F43222E1}" dt="2024-03-19T16:40:09.304" v="16" actId="2696"/>
        <pc:sldMkLst>
          <pc:docMk/>
          <pc:sldMk cId="469156080" sldId="831"/>
        </pc:sldMkLst>
      </pc:sldChg>
      <pc:sldChg chg="del">
        <pc:chgData name="Nikki Baird" userId="c5f39c88-e1ef-4b70-aeb8-23005ac7aa7b" providerId="ADAL" clId="{12FA793D-705B-D64F-9B89-CE89F43222E1}" dt="2024-03-19T16:40:09.261" v="9" actId="2696"/>
        <pc:sldMkLst>
          <pc:docMk/>
          <pc:sldMk cId="593351204" sldId="832"/>
        </pc:sldMkLst>
      </pc:sldChg>
      <pc:sldChg chg="del">
        <pc:chgData name="Nikki Baird" userId="c5f39c88-e1ef-4b70-aeb8-23005ac7aa7b" providerId="ADAL" clId="{12FA793D-705B-D64F-9B89-CE89F43222E1}" dt="2024-03-19T16:40:09.267" v="11" actId="2696"/>
        <pc:sldMkLst>
          <pc:docMk/>
          <pc:sldMk cId="3373419623" sldId="1451"/>
        </pc:sldMkLst>
      </pc:sldChg>
      <pc:sldChg chg="del">
        <pc:chgData name="Nikki Baird" userId="c5f39c88-e1ef-4b70-aeb8-23005ac7aa7b" providerId="ADAL" clId="{12FA793D-705B-D64F-9B89-CE89F43222E1}" dt="2024-03-19T16:40:09.298" v="14" actId="2696"/>
        <pc:sldMkLst>
          <pc:docMk/>
          <pc:sldMk cId="501716352" sldId="2417"/>
        </pc:sldMkLst>
      </pc:sldChg>
      <pc:sldChg chg="modSp mod">
        <pc:chgData name="Nikki Baird" userId="c5f39c88-e1ef-4b70-aeb8-23005ac7aa7b" providerId="ADAL" clId="{12FA793D-705B-D64F-9B89-CE89F43222E1}" dt="2024-03-19T16:42:43.267" v="134" actId="20577"/>
        <pc:sldMkLst>
          <pc:docMk/>
          <pc:sldMk cId="3813422474" sldId="3260"/>
        </pc:sldMkLst>
        <pc:spChg chg="mod">
          <ac:chgData name="Nikki Baird" userId="c5f39c88-e1ef-4b70-aeb8-23005ac7aa7b" providerId="ADAL" clId="{12FA793D-705B-D64F-9B89-CE89F43222E1}" dt="2024-03-19T16:42:31.280" v="106" actId="20577"/>
          <ac:spMkLst>
            <pc:docMk/>
            <pc:sldMk cId="3813422474" sldId="3260"/>
            <ac:spMk id="2" creationId="{CD8472FF-8B13-D192-1A81-575D083D6D64}"/>
          </ac:spMkLst>
        </pc:spChg>
        <pc:spChg chg="mod">
          <ac:chgData name="Nikki Baird" userId="c5f39c88-e1ef-4b70-aeb8-23005ac7aa7b" providerId="ADAL" clId="{12FA793D-705B-D64F-9B89-CE89F43222E1}" dt="2024-03-19T16:42:36.980" v="116" actId="20577"/>
          <ac:spMkLst>
            <pc:docMk/>
            <pc:sldMk cId="3813422474" sldId="3260"/>
            <ac:spMk id="4" creationId="{336D1FC9-22DA-493D-F521-4A24048E1795}"/>
          </ac:spMkLst>
        </pc:spChg>
        <pc:spChg chg="mod">
          <ac:chgData name="Nikki Baird" userId="c5f39c88-e1ef-4b70-aeb8-23005ac7aa7b" providerId="ADAL" clId="{12FA793D-705B-D64F-9B89-CE89F43222E1}" dt="2024-03-19T16:42:43.267" v="134" actId="20577"/>
          <ac:spMkLst>
            <pc:docMk/>
            <pc:sldMk cId="3813422474" sldId="3260"/>
            <ac:spMk id="5" creationId="{25F1F774-707D-4D38-3E9B-5F3856B6EF0E}"/>
          </ac:spMkLst>
        </pc:spChg>
      </pc:sldChg>
      <pc:sldChg chg="del">
        <pc:chgData name="Nikki Baird" userId="c5f39c88-e1ef-4b70-aeb8-23005ac7aa7b" providerId="ADAL" clId="{12FA793D-705B-D64F-9B89-CE89F43222E1}" dt="2024-03-19T16:40:31.245" v="28" actId="2696"/>
        <pc:sldMkLst>
          <pc:docMk/>
          <pc:sldMk cId="2154118871" sldId="3267"/>
        </pc:sldMkLst>
      </pc:sldChg>
      <pc:sldChg chg="del">
        <pc:chgData name="Nikki Baird" userId="c5f39c88-e1ef-4b70-aeb8-23005ac7aa7b" providerId="ADAL" clId="{12FA793D-705B-D64F-9B89-CE89F43222E1}" dt="2024-03-19T16:40:31.240" v="26" actId="2696"/>
        <pc:sldMkLst>
          <pc:docMk/>
          <pc:sldMk cId="3271719527" sldId="3272"/>
        </pc:sldMkLst>
      </pc:sldChg>
      <pc:sldChg chg="del">
        <pc:chgData name="Nikki Baird" userId="c5f39c88-e1ef-4b70-aeb8-23005ac7aa7b" providerId="ADAL" clId="{12FA793D-705B-D64F-9B89-CE89F43222E1}" dt="2024-03-19T16:40:35.988" v="29" actId="2696"/>
        <pc:sldMkLst>
          <pc:docMk/>
          <pc:sldMk cId="1376119256" sldId="3279"/>
        </pc:sldMkLst>
      </pc:sldChg>
      <pc:sldChg chg="del">
        <pc:chgData name="Nikki Baird" userId="c5f39c88-e1ef-4b70-aeb8-23005ac7aa7b" providerId="ADAL" clId="{12FA793D-705B-D64F-9B89-CE89F43222E1}" dt="2024-03-19T16:40:31.237" v="25" actId="2696"/>
        <pc:sldMkLst>
          <pc:docMk/>
          <pc:sldMk cId="2284771873" sldId="3284"/>
        </pc:sldMkLst>
      </pc:sldChg>
      <pc:sldChg chg="del">
        <pc:chgData name="Nikki Baird" userId="c5f39c88-e1ef-4b70-aeb8-23005ac7aa7b" providerId="ADAL" clId="{12FA793D-705B-D64F-9B89-CE89F43222E1}" dt="2024-03-19T16:41:12.102" v="34" actId="2696"/>
        <pc:sldMkLst>
          <pc:docMk/>
          <pc:sldMk cId="1622503008" sldId="3296"/>
        </pc:sldMkLst>
      </pc:sldChg>
      <pc:sldChg chg="del">
        <pc:chgData name="Nikki Baird" userId="c5f39c88-e1ef-4b70-aeb8-23005ac7aa7b" providerId="ADAL" clId="{12FA793D-705B-D64F-9B89-CE89F43222E1}" dt="2024-03-19T16:41:12.093" v="31" actId="2696"/>
        <pc:sldMkLst>
          <pc:docMk/>
          <pc:sldMk cId="2568947607" sldId="3330"/>
        </pc:sldMkLst>
      </pc:sldChg>
      <pc:sldChg chg="del">
        <pc:chgData name="Nikki Baird" userId="c5f39c88-e1ef-4b70-aeb8-23005ac7aa7b" providerId="ADAL" clId="{12FA793D-705B-D64F-9B89-CE89F43222E1}" dt="2024-03-19T16:40:31.243" v="27" actId="2696"/>
        <pc:sldMkLst>
          <pc:docMk/>
          <pc:sldMk cId="1206696677" sldId="3339"/>
        </pc:sldMkLst>
      </pc:sldChg>
      <pc:sldChg chg="modSp mod">
        <pc:chgData name="Nikki Baird" userId="c5f39c88-e1ef-4b70-aeb8-23005ac7aa7b" providerId="ADAL" clId="{12FA793D-705B-D64F-9B89-CE89F43222E1}" dt="2024-03-22T14:16:23.339" v="137" actId="20577"/>
        <pc:sldMkLst>
          <pc:docMk/>
          <pc:sldMk cId="1039880514" sldId="3343"/>
        </pc:sldMkLst>
        <pc:spChg chg="mod">
          <ac:chgData name="Nikki Baird" userId="c5f39c88-e1ef-4b70-aeb8-23005ac7aa7b" providerId="ADAL" clId="{12FA793D-705B-D64F-9B89-CE89F43222E1}" dt="2024-03-22T14:16:23.339" v="137" actId="20577"/>
          <ac:spMkLst>
            <pc:docMk/>
            <pc:sldMk cId="1039880514" sldId="3343"/>
            <ac:spMk id="2" creationId="{C5246CAA-F7E4-0D3A-AF36-52B532A9C9C1}"/>
          </ac:spMkLst>
        </pc:spChg>
      </pc:sldChg>
      <pc:sldChg chg="del">
        <pc:chgData name="Nikki Baird" userId="c5f39c88-e1ef-4b70-aeb8-23005ac7aa7b" providerId="ADAL" clId="{12FA793D-705B-D64F-9B89-CE89F43222E1}" dt="2024-03-19T16:41:12.096" v="32" actId="2696"/>
        <pc:sldMkLst>
          <pc:docMk/>
          <pc:sldMk cId="1293046318" sldId="3348"/>
        </pc:sldMkLst>
      </pc:sldChg>
      <pc:sldChg chg="del">
        <pc:chgData name="Nikki Baird" userId="c5f39c88-e1ef-4b70-aeb8-23005ac7aa7b" providerId="ADAL" clId="{12FA793D-705B-D64F-9B89-CE89F43222E1}" dt="2024-03-19T16:41:12.099" v="33" actId="2696"/>
        <pc:sldMkLst>
          <pc:docMk/>
          <pc:sldMk cId="85185801" sldId="3349"/>
        </pc:sldMkLst>
      </pc:sldChg>
      <pc:sldChg chg="del">
        <pc:chgData name="Nikki Baird" userId="c5f39c88-e1ef-4b70-aeb8-23005ac7aa7b" providerId="ADAL" clId="{12FA793D-705B-D64F-9B89-CE89F43222E1}" dt="2024-03-19T16:41:12.108" v="36" actId="2696"/>
        <pc:sldMkLst>
          <pc:docMk/>
          <pc:sldMk cId="1501965364" sldId="3350"/>
        </pc:sldMkLst>
      </pc:sldChg>
      <pc:sldChg chg="ord">
        <pc:chgData name="Nikki Baird" userId="c5f39c88-e1ef-4b70-aeb8-23005ac7aa7b" providerId="ADAL" clId="{12FA793D-705B-D64F-9B89-CE89F43222E1}" dt="2024-03-19T16:41:08.987" v="30" actId="20578"/>
        <pc:sldMkLst>
          <pc:docMk/>
          <pc:sldMk cId="1658123787" sldId="3351"/>
        </pc:sldMkLst>
      </pc:sldChg>
      <pc:sldChg chg="del">
        <pc:chgData name="Nikki Baird" userId="c5f39c88-e1ef-4b70-aeb8-23005ac7aa7b" providerId="ADAL" clId="{12FA793D-705B-D64F-9B89-CE89F43222E1}" dt="2024-03-19T16:41:12.105" v="35" actId="2696"/>
        <pc:sldMkLst>
          <pc:docMk/>
          <pc:sldMk cId="2062809684" sldId="3354"/>
        </pc:sldMkLst>
      </pc:sldChg>
      <pc:sldChg chg="del">
        <pc:chgData name="Nikki Baird" userId="c5f39c88-e1ef-4b70-aeb8-23005ac7aa7b" providerId="ADAL" clId="{12FA793D-705B-D64F-9B89-CE89F43222E1}" dt="2024-03-19T16:40:09.270" v="12" actId="2696"/>
        <pc:sldMkLst>
          <pc:docMk/>
          <pc:sldMk cId="1546609385" sldId="3355"/>
        </pc:sldMkLst>
      </pc:sldChg>
      <pc:sldChg chg="del">
        <pc:chgData name="Nikki Baird" userId="c5f39c88-e1ef-4b70-aeb8-23005ac7aa7b" providerId="ADAL" clId="{12FA793D-705B-D64F-9B89-CE89F43222E1}" dt="2024-03-19T16:40:09.328" v="24" actId="2696"/>
        <pc:sldMkLst>
          <pc:docMk/>
          <pc:sldMk cId="2589385796" sldId="3356"/>
        </pc:sldMkLst>
      </pc:sldChg>
      <pc:sldChg chg="del">
        <pc:chgData name="Nikki Baird" userId="c5f39c88-e1ef-4b70-aeb8-23005ac7aa7b" providerId="ADAL" clId="{12FA793D-705B-D64F-9B89-CE89F43222E1}" dt="2024-03-19T16:40:09.236" v="0" actId="2696"/>
        <pc:sldMkLst>
          <pc:docMk/>
          <pc:sldMk cId="4161744165" sldId="2142534026"/>
        </pc:sldMkLst>
      </pc:sldChg>
      <pc:sldChg chg="del">
        <pc:chgData name="Nikki Baird" userId="c5f39c88-e1ef-4b70-aeb8-23005ac7aa7b" providerId="ADAL" clId="{12FA793D-705B-D64F-9B89-CE89F43222E1}" dt="2024-03-19T16:40:09.256" v="7" actId="2696"/>
        <pc:sldMkLst>
          <pc:docMk/>
          <pc:sldMk cId="2821805928" sldId="2142534079"/>
        </pc:sldMkLst>
      </pc:sldChg>
      <pc:sldMasterChg chg="delSldLayout">
        <pc:chgData name="Nikki Baird" userId="c5f39c88-e1ef-4b70-aeb8-23005ac7aa7b" providerId="ADAL" clId="{12FA793D-705B-D64F-9B89-CE89F43222E1}" dt="2024-03-19T16:40:09.311" v="19" actId="2696"/>
        <pc:sldMasterMkLst>
          <pc:docMk/>
          <pc:sldMasterMk cId="3310283978" sldId="2147483672"/>
        </pc:sldMasterMkLst>
        <pc:sldLayoutChg chg="del">
          <pc:chgData name="Nikki Baird" userId="c5f39c88-e1ef-4b70-aeb8-23005ac7aa7b" providerId="ADAL" clId="{12FA793D-705B-D64F-9B89-CE89F43222E1}" dt="2024-03-19T16:40:09.300" v="15" actId="2696"/>
          <pc:sldLayoutMkLst>
            <pc:docMk/>
            <pc:sldMasterMk cId="3310283978" sldId="2147483672"/>
            <pc:sldLayoutMk cId="2662053969" sldId="2147484044"/>
          </pc:sldLayoutMkLst>
        </pc:sldLayoutChg>
        <pc:sldLayoutChg chg="del">
          <pc:chgData name="Nikki Baird" userId="c5f39c88-e1ef-4b70-aeb8-23005ac7aa7b" providerId="ADAL" clId="{12FA793D-705B-D64F-9B89-CE89F43222E1}" dt="2024-03-19T16:40:09.311" v="19" actId="2696"/>
          <pc:sldLayoutMkLst>
            <pc:docMk/>
            <pc:sldMasterMk cId="3310283978" sldId="2147483672"/>
            <pc:sldLayoutMk cId="1979472369" sldId="2147484045"/>
          </pc:sldLayoutMkLst>
        </pc:sldLayoutChg>
      </pc:sldMasterChg>
    </pc:docChg>
  </pc:docChgLst>
  <pc:docChgLst>
    <pc:chgData name="Steve Panetta" userId="S::spanetta@aptos.com::8d5d315f-a0b8-4579-a6fb-0b2ebc7903ef" providerId="AD" clId="Web-{460CB77E-12AC-E356-9A3C-2AD3393340E9}"/>
    <pc:docChg chg="modSld">
      <pc:chgData name="Steve Panetta" userId="S::spanetta@aptos.com::8d5d315f-a0b8-4579-a6fb-0b2ebc7903ef" providerId="AD" clId="Web-{460CB77E-12AC-E356-9A3C-2AD3393340E9}" dt="2024-03-26T20:39:10.391" v="9"/>
      <pc:docMkLst>
        <pc:docMk/>
      </pc:docMkLst>
      <pc:sldChg chg="modSp">
        <pc:chgData name="Steve Panetta" userId="S::spanetta@aptos.com::8d5d315f-a0b8-4579-a6fb-0b2ebc7903ef" providerId="AD" clId="Web-{460CB77E-12AC-E356-9A3C-2AD3393340E9}" dt="2024-03-26T20:38:17.576" v="1" actId="20577"/>
        <pc:sldMkLst>
          <pc:docMk/>
          <pc:sldMk cId="3937648831" sldId="3356"/>
        </pc:sldMkLst>
        <pc:spChg chg="mod">
          <ac:chgData name="Steve Panetta" userId="S::spanetta@aptos.com::8d5d315f-a0b8-4579-a6fb-0b2ebc7903ef" providerId="AD" clId="Web-{460CB77E-12AC-E356-9A3C-2AD3393340E9}" dt="2024-03-26T20:38:17.576" v="1" actId="20577"/>
          <ac:spMkLst>
            <pc:docMk/>
            <pc:sldMk cId="3937648831" sldId="3356"/>
            <ac:spMk id="4" creationId="{85C9BE5E-BF00-FE24-596E-2A553FBFC783}"/>
          </ac:spMkLst>
        </pc:spChg>
      </pc:sldChg>
      <pc:sldChg chg="addSp modSp">
        <pc:chgData name="Steve Panetta" userId="S::spanetta@aptos.com::8d5d315f-a0b8-4579-a6fb-0b2ebc7903ef" providerId="AD" clId="Web-{460CB77E-12AC-E356-9A3C-2AD3393340E9}" dt="2024-03-26T20:39:10.391" v="9"/>
        <pc:sldMkLst>
          <pc:docMk/>
          <pc:sldMk cId="3960997042" sldId="3360"/>
        </pc:sldMkLst>
        <pc:spChg chg="add mod">
          <ac:chgData name="Steve Panetta" userId="S::spanetta@aptos.com::8d5d315f-a0b8-4579-a6fb-0b2ebc7903ef" providerId="AD" clId="Web-{460CB77E-12AC-E356-9A3C-2AD3393340E9}" dt="2024-03-26T20:39:10.391" v="9"/>
          <ac:spMkLst>
            <pc:docMk/>
            <pc:sldMk cId="3960997042" sldId="3360"/>
            <ac:spMk id="3" creationId="{4BB7DFCE-408F-74E1-CCE0-96F243615ED1}"/>
          </ac:spMkLst>
        </pc:spChg>
      </pc:sldChg>
    </pc:docChg>
  </pc:docChgLst>
  <pc:docChgLst>
    <pc:chgData name="Brittany Martin" userId="S::brittany.martin@aptos.com::a9b13d33-1e50-4e12-b600-0e921282295c" providerId="AD" clId="Web-{4627FCA6-9EB0-B4D3-C976-421CA4A0B4A0}"/>
    <pc:docChg chg="mod">
      <pc:chgData name="Brittany Martin" userId="S::brittany.martin@aptos.com::a9b13d33-1e50-4e12-b600-0e921282295c" providerId="AD" clId="Web-{4627FCA6-9EB0-B4D3-C976-421CA4A0B4A0}" dt="2024-04-23T21:29:34.340" v="0" actId="33475"/>
      <pc:docMkLst>
        <pc:docMk/>
      </pc:docMkLst>
    </pc:docChg>
  </pc:docChgLst>
  <pc:docChgLst>
    <pc:chgData name="Nikki Baird" userId="c5f39c88-e1ef-4b70-aeb8-23005ac7aa7b" providerId="ADAL" clId="{CBDB2A97-8530-AF46-A41E-D30B177EA672}"/>
    <pc:docChg chg="undo custSel modSld">
      <pc:chgData name="Nikki Baird" userId="c5f39c88-e1ef-4b70-aeb8-23005ac7aa7b" providerId="ADAL" clId="{CBDB2A97-8530-AF46-A41E-D30B177EA672}" dt="2024-04-09T02:08:13.067" v="158" actId="113"/>
      <pc:docMkLst>
        <pc:docMk/>
      </pc:docMkLst>
      <pc:sldChg chg="modSp modAnim">
        <pc:chgData name="Nikki Baird" userId="c5f39c88-e1ef-4b70-aeb8-23005ac7aa7b" providerId="ADAL" clId="{CBDB2A97-8530-AF46-A41E-D30B177EA672}" dt="2024-04-09T02:03:20.275" v="6" actId="20577"/>
        <pc:sldMkLst>
          <pc:docMk/>
          <pc:sldMk cId="3343163395" sldId="3365"/>
        </pc:sldMkLst>
        <pc:spChg chg="mod">
          <ac:chgData name="Nikki Baird" userId="c5f39c88-e1ef-4b70-aeb8-23005ac7aa7b" providerId="ADAL" clId="{CBDB2A97-8530-AF46-A41E-D30B177EA672}" dt="2024-04-09T02:03:20.275" v="6" actId="20577"/>
          <ac:spMkLst>
            <pc:docMk/>
            <pc:sldMk cId="3343163395" sldId="3365"/>
            <ac:spMk id="13" creationId="{534AD675-832F-338B-01B6-A7F7152FFEA7}"/>
          </ac:spMkLst>
        </pc:spChg>
      </pc:sldChg>
      <pc:sldChg chg="addSp delSp mod addAnim delAnim modAnim">
        <pc:chgData name="Nikki Baird" userId="c5f39c88-e1ef-4b70-aeb8-23005ac7aa7b" providerId="ADAL" clId="{CBDB2A97-8530-AF46-A41E-D30B177EA672}" dt="2024-04-09T02:02:32.919" v="2"/>
        <pc:sldMkLst>
          <pc:docMk/>
          <pc:sldMk cId="2879550882" sldId="3366"/>
        </pc:sldMkLst>
        <pc:spChg chg="add del">
          <ac:chgData name="Nikki Baird" userId="c5f39c88-e1ef-4b70-aeb8-23005ac7aa7b" providerId="ADAL" clId="{CBDB2A97-8530-AF46-A41E-D30B177EA672}" dt="2024-04-09T02:02:29.858" v="1" actId="478"/>
          <ac:spMkLst>
            <pc:docMk/>
            <pc:sldMk cId="2879550882" sldId="3366"/>
            <ac:spMk id="13" creationId="{534AD675-832F-338B-01B6-A7F7152FFEA7}"/>
          </ac:spMkLst>
        </pc:spChg>
      </pc:sldChg>
      <pc:sldChg chg="modSp modAnim">
        <pc:chgData name="Nikki Baird" userId="c5f39c88-e1ef-4b70-aeb8-23005ac7aa7b" providerId="ADAL" clId="{CBDB2A97-8530-AF46-A41E-D30B177EA672}" dt="2024-04-09T02:03:29.963" v="7"/>
        <pc:sldMkLst>
          <pc:docMk/>
          <pc:sldMk cId="3945639039" sldId="3368"/>
        </pc:sldMkLst>
        <pc:spChg chg="mod">
          <ac:chgData name="Nikki Baird" userId="c5f39c88-e1ef-4b70-aeb8-23005ac7aa7b" providerId="ADAL" clId="{CBDB2A97-8530-AF46-A41E-D30B177EA672}" dt="2024-04-09T02:03:16.151" v="5" actId="20577"/>
          <ac:spMkLst>
            <pc:docMk/>
            <pc:sldMk cId="3945639039" sldId="3368"/>
            <ac:spMk id="13" creationId="{534AD675-832F-338B-01B6-A7F7152FFEA7}"/>
          </ac:spMkLst>
        </pc:spChg>
      </pc:sldChg>
      <pc:sldChg chg="addSp modSp mod">
        <pc:chgData name="Nikki Baird" userId="c5f39c88-e1ef-4b70-aeb8-23005ac7aa7b" providerId="ADAL" clId="{CBDB2A97-8530-AF46-A41E-D30B177EA672}" dt="2024-04-09T02:04:44.886" v="141" actId="20577"/>
        <pc:sldMkLst>
          <pc:docMk/>
          <pc:sldMk cId="2689117766" sldId="3369"/>
        </pc:sldMkLst>
        <pc:spChg chg="add mod">
          <ac:chgData name="Nikki Baird" userId="c5f39c88-e1ef-4b70-aeb8-23005ac7aa7b" providerId="ADAL" clId="{CBDB2A97-8530-AF46-A41E-D30B177EA672}" dt="2024-04-09T02:04:44.886" v="141" actId="20577"/>
          <ac:spMkLst>
            <pc:docMk/>
            <pc:sldMk cId="2689117766" sldId="3369"/>
            <ac:spMk id="2" creationId="{730CA8DC-59D9-965F-9B1B-9C7E484C1819}"/>
          </ac:spMkLst>
        </pc:spChg>
        <pc:spChg chg="mod">
          <ac:chgData name="Nikki Baird" userId="c5f39c88-e1ef-4b70-aeb8-23005ac7aa7b" providerId="ADAL" clId="{CBDB2A97-8530-AF46-A41E-D30B177EA672}" dt="2024-04-09T02:03:41.757" v="8" actId="167"/>
          <ac:spMkLst>
            <pc:docMk/>
            <pc:sldMk cId="2689117766" sldId="3369"/>
            <ac:spMk id="18" creationId="{0CC1BB92-70CF-6877-86E1-B3DFB3347377}"/>
          </ac:spMkLst>
        </pc:spChg>
      </pc:sldChg>
      <pc:sldChg chg="modAnim">
        <pc:chgData name="Nikki Baird" userId="c5f39c88-e1ef-4b70-aeb8-23005ac7aa7b" providerId="ADAL" clId="{CBDB2A97-8530-AF46-A41E-D30B177EA672}" dt="2024-04-09T02:04:52.362" v="142"/>
        <pc:sldMkLst>
          <pc:docMk/>
          <pc:sldMk cId="2655742081" sldId="3370"/>
        </pc:sldMkLst>
      </pc:sldChg>
      <pc:sldChg chg="modAnim">
        <pc:chgData name="Nikki Baird" userId="c5f39c88-e1ef-4b70-aeb8-23005ac7aa7b" providerId="ADAL" clId="{CBDB2A97-8530-AF46-A41E-D30B177EA672}" dt="2024-04-09T02:04:57.771" v="143"/>
        <pc:sldMkLst>
          <pc:docMk/>
          <pc:sldMk cId="337225924" sldId="3371"/>
        </pc:sldMkLst>
      </pc:sldChg>
      <pc:sldChg chg="modSp mod modAnim">
        <pc:chgData name="Nikki Baird" userId="c5f39c88-e1ef-4b70-aeb8-23005ac7aa7b" providerId="ADAL" clId="{CBDB2A97-8530-AF46-A41E-D30B177EA672}" dt="2024-04-09T02:08:13.067" v="158" actId="113"/>
        <pc:sldMkLst>
          <pc:docMk/>
          <pc:sldMk cId="2787503214" sldId="3375"/>
        </pc:sldMkLst>
        <pc:spChg chg="mod">
          <ac:chgData name="Nikki Baird" userId="c5f39c88-e1ef-4b70-aeb8-23005ac7aa7b" providerId="ADAL" clId="{CBDB2A97-8530-AF46-A41E-D30B177EA672}" dt="2024-04-09T02:07:09.144" v="153" actId="113"/>
          <ac:spMkLst>
            <pc:docMk/>
            <pc:sldMk cId="2787503214" sldId="3375"/>
            <ac:spMk id="13" creationId="{CD2D9354-8EB9-A8F6-1951-5C574175FA8F}"/>
          </ac:spMkLst>
        </pc:spChg>
        <pc:spChg chg="mod">
          <ac:chgData name="Nikki Baird" userId="c5f39c88-e1ef-4b70-aeb8-23005ac7aa7b" providerId="ADAL" clId="{CBDB2A97-8530-AF46-A41E-D30B177EA672}" dt="2024-04-09T02:07:35.094" v="155" actId="113"/>
          <ac:spMkLst>
            <pc:docMk/>
            <pc:sldMk cId="2787503214" sldId="3375"/>
            <ac:spMk id="18" creationId="{9F2FD429-AEBD-3A44-4CA3-51240806B085}"/>
          </ac:spMkLst>
        </pc:spChg>
        <pc:spChg chg="mod">
          <ac:chgData name="Nikki Baird" userId="c5f39c88-e1ef-4b70-aeb8-23005ac7aa7b" providerId="ADAL" clId="{CBDB2A97-8530-AF46-A41E-D30B177EA672}" dt="2024-04-09T02:07:49.894" v="156" actId="113"/>
          <ac:spMkLst>
            <pc:docMk/>
            <pc:sldMk cId="2787503214" sldId="3375"/>
            <ac:spMk id="21" creationId="{4697FD04-F97A-E7C9-7E7B-D24E170679FA}"/>
          </ac:spMkLst>
        </pc:spChg>
        <pc:spChg chg="mod">
          <ac:chgData name="Nikki Baird" userId="c5f39c88-e1ef-4b70-aeb8-23005ac7aa7b" providerId="ADAL" clId="{CBDB2A97-8530-AF46-A41E-D30B177EA672}" dt="2024-04-09T02:08:13.067" v="158" actId="113"/>
          <ac:spMkLst>
            <pc:docMk/>
            <pc:sldMk cId="2787503214" sldId="3375"/>
            <ac:spMk id="24" creationId="{8397694A-7DC6-5431-A926-75C031C1B3FC}"/>
          </ac:spMkLst>
        </pc:spChg>
      </pc:sldChg>
      <pc:sldChg chg="addSp mod modAnim">
        <pc:chgData name="Nikki Baird" userId="c5f39c88-e1ef-4b70-aeb8-23005ac7aa7b" providerId="ADAL" clId="{CBDB2A97-8530-AF46-A41E-D30B177EA672}" dt="2024-04-09T02:06:03.818" v="149"/>
        <pc:sldMkLst>
          <pc:docMk/>
          <pc:sldMk cId="838437960" sldId="3376"/>
        </pc:sldMkLst>
        <pc:grpChg chg="add">
          <ac:chgData name="Nikki Baird" userId="c5f39c88-e1ef-4b70-aeb8-23005ac7aa7b" providerId="ADAL" clId="{CBDB2A97-8530-AF46-A41E-D30B177EA672}" dt="2024-04-09T02:05:23.354" v="144" actId="164"/>
          <ac:grpSpMkLst>
            <pc:docMk/>
            <pc:sldMk cId="838437960" sldId="3376"/>
            <ac:grpSpMk id="3" creationId="{D6D582E9-349A-4E13-268B-406C0BF60FD0}"/>
          </ac:grpSpMkLst>
        </pc:grpChg>
        <pc:grpChg chg="add">
          <ac:chgData name="Nikki Baird" userId="c5f39c88-e1ef-4b70-aeb8-23005ac7aa7b" providerId="ADAL" clId="{CBDB2A97-8530-AF46-A41E-D30B177EA672}" dt="2024-04-09T02:05:28.305" v="145" actId="164"/>
          <ac:grpSpMkLst>
            <pc:docMk/>
            <pc:sldMk cId="838437960" sldId="3376"/>
            <ac:grpSpMk id="4" creationId="{065F11B1-D1D3-605F-FC0D-6D4CCCE9AE2F}"/>
          </ac:grpSpMkLst>
        </pc:grpChg>
        <pc:grpChg chg="add">
          <ac:chgData name="Nikki Baird" userId="c5f39c88-e1ef-4b70-aeb8-23005ac7aa7b" providerId="ADAL" clId="{CBDB2A97-8530-AF46-A41E-D30B177EA672}" dt="2024-04-09T02:05:51.844" v="146" actId="164"/>
          <ac:grpSpMkLst>
            <pc:docMk/>
            <pc:sldMk cId="838437960" sldId="3376"/>
            <ac:grpSpMk id="5" creationId="{4D7554EF-02BF-5810-FDD4-CEBAEE904C9D}"/>
          </ac:grpSpMkLst>
        </pc:gr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8B748-BECC-42A7-AD50-942C9F7BFA78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6E91A6-271F-479A-AF23-E847D193B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9153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96F405-CAF4-44AD-91F1-412111705DC6}" type="datetimeFigureOut">
              <a:rPr lang="en-US" smtClean="0"/>
              <a:t>5/6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34E365-EB0B-4283-B29C-847DCF8973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89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1pPr>
    <a:lvl2pPr marL="411571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2pPr>
    <a:lvl3pPr marL="823143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3pPr>
    <a:lvl4pPr marL="1234714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4pPr>
    <a:lvl5pPr marL="1646286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5pPr>
    <a:lvl6pPr marL="2057857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6pPr>
    <a:lvl7pPr marL="2469429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7pPr>
    <a:lvl8pPr marL="2881000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8pPr>
    <a:lvl9pPr marL="3292572" algn="l" defTabSz="823143" rtl="0" eaLnBrk="1" latinLnBrk="0" hangingPunct="1">
      <a:defRPr sz="10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/>
          </p:cNvSpPr>
          <p:nvPr userDrawn="1"/>
        </p:nvSpPr>
        <p:spPr>
          <a:xfrm>
            <a:off x="0" y="0"/>
            <a:ext cx="12191999" cy="68581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858561" y="2331266"/>
            <a:ext cx="10425738" cy="1892454"/>
          </a:xfrm>
        </p:spPr>
        <p:txBody>
          <a:bodyPr anchor="b">
            <a:normAutofit/>
          </a:bodyPr>
          <a:lstStyle>
            <a:lvl1pPr>
              <a:defRPr sz="4000">
                <a:latin typeface="+mj-lt"/>
              </a:defRPr>
            </a:lvl1pPr>
          </a:lstStyle>
          <a:p>
            <a:r>
              <a:rPr lang="en-US"/>
              <a:t>Aptos PowerPoint Templ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58561" y="4389520"/>
            <a:ext cx="6152079" cy="41165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n-lt"/>
              </a:defRPr>
            </a:lvl1pPr>
            <a:lvl2pPr marL="509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</p:txBody>
      </p:sp>
      <p:sp>
        <p:nvSpPr>
          <p:cNvPr id="5" name="Text Placeholder 4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858562" y="4801171"/>
            <a:ext cx="6152078" cy="411652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chemeClr val="accent3"/>
                </a:solidFill>
                <a:latin typeface="+mn-lt"/>
              </a:defRPr>
            </a:lvl1pPr>
            <a:lvl2pPr marL="370488" indent="0">
              <a:buNone/>
              <a:defRPr sz="1620">
                <a:solidFill>
                  <a:schemeClr val="accent1"/>
                </a:solidFill>
              </a:defRPr>
            </a:lvl2pPr>
            <a:lvl3pPr marL="823307" indent="0">
              <a:buNone/>
              <a:defRPr sz="1620">
                <a:solidFill>
                  <a:schemeClr val="accent1"/>
                </a:solidFill>
              </a:defRPr>
            </a:lvl3pPr>
            <a:lvl4pPr marL="1152631" indent="0">
              <a:buNone/>
              <a:defRPr sz="1620">
                <a:solidFill>
                  <a:schemeClr val="accent1"/>
                </a:solidFill>
              </a:defRPr>
            </a:lvl4pPr>
            <a:lvl5pPr marL="1481953" indent="0">
              <a:buNone/>
              <a:defRPr sz="162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, Compan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872416" y="5350041"/>
            <a:ext cx="3096705" cy="39307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3"/>
                </a:solidFill>
                <a:latin typeface="+mn-lt"/>
                <a:ea typeface="Roboto Condensed" panose="02000000000000000000" pitchFamily="2" charset="0"/>
              </a:defRPr>
            </a:lvl1pPr>
            <a:lvl2pPr marL="370488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  <a:lvl3pPr marL="823307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3pPr>
            <a:lvl4pPr marL="1152631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4pPr>
            <a:lvl5pPr marL="1481953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04E1FD-A02E-3B4A-8F6D-7E58A54652E7}"/>
              </a:ext>
            </a:extLst>
          </p:cNvPr>
          <p:cNvSpPr/>
          <p:nvPr userDrawn="1"/>
        </p:nvSpPr>
        <p:spPr>
          <a:xfrm>
            <a:off x="4" y="6312577"/>
            <a:ext cx="12192000" cy="411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2A3C3F-2BE1-3045-BEC0-38A354364D67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accent3"/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3"/>
                </a:solidFill>
                <a:latin typeface="+mn-lt"/>
                <a:ea typeface="Roboto" panose="02000000000000000000" pitchFamily="2" charset="0"/>
              </a:rPr>
              <a:t>.</a:t>
            </a:r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  </a:t>
            </a:r>
            <a:r>
              <a:rPr lang="en-US" sz="600" b="0" baseline="0">
                <a:solidFill>
                  <a:schemeClr val="bg1">
                    <a:lumMod val="85000"/>
                  </a:schemeClr>
                </a:solidFill>
                <a:latin typeface="+mn-lt"/>
                <a:ea typeface="Roboto" panose="02000000000000000000" pitchFamily="2" charset="0"/>
              </a:rPr>
              <a:t>v22</a:t>
            </a:r>
            <a:endParaRPr lang="en-US" sz="800" b="0">
              <a:solidFill>
                <a:schemeClr val="bg1">
                  <a:lumMod val="8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1AD714D-DA59-654C-9667-C2F7E82805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702" y="403687"/>
            <a:ext cx="3017520" cy="176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143023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ntent and Title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9368C0F-647C-864C-8B85-9CE3680424FC}"/>
              </a:ext>
            </a:extLst>
          </p:cNvPr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512" y="428899"/>
            <a:ext cx="11432977" cy="4575720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943189E-9F80-DD4F-94A8-13664CC8B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01538"/>
            <a:ext cx="11432976" cy="7315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836715F3-36E2-C04C-B7BD-1F214AC34D9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0780" y="5202251"/>
            <a:ext cx="11411712" cy="2743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0269263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18427095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ark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75630691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92DC5021-A4C2-0B45-BFAB-CEC1E2C89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3C99C1D-F59A-D648-88D1-266E448B427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69147681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Two_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E3608F0-9467-4146-85D6-933B49242F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61F24336-8845-594D-8F53-66340F7B646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35404426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86F4A6A-62C6-3E4E-96D8-B0919B8EBF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01538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6658600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Title Only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90E00F9-009D-E645-96DD-4389D4E17E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01538"/>
            <a:ext cx="11432976" cy="731520"/>
          </a:xfrm>
          <a:effectLst>
            <a:outerShdw blurRad="114300" dist="38100" dir="5400000" algn="t" rotWithShape="0">
              <a:prstClr val="black">
                <a:alpha val="20000"/>
              </a:prstClr>
            </a:outerShdw>
          </a:effectLst>
        </p:spPr>
        <p:txBody>
          <a:bodyPr anchor="ctr">
            <a:no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0428708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Title Only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D1DF7EB-D815-664C-9055-E5D5D0E00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01538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267DDBA-7BF7-B541-A354-66FC45564EE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0780" y="5202251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48541881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Two_Titles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F0526EF-6B2E-5140-B8D4-12B8795A7E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01538"/>
            <a:ext cx="11432976" cy="7315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488F244D-AD69-304C-B080-66332A1DBE4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0780" y="5202251"/>
            <a:ext cx="11411712" cy="2743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26986335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_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33E0A51-8347-CD43-AE76-87268A909D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9511" y="1406290"/>
            <a:ext cx="11432977" cy="4754880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D4B5D61-C77B-6049-8DD3-08BB51C2AA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49DE8968-26DB-0446-954D-A291D1BA517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94970919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>
            <a:spLocks/>
          </p:cNvSpPr>
          <p:nvPr userDrawn="1"/>
        </p:nvSpPr>
        <p:spPr>
          <a:xfrm>
            <a:off x="0" y="-57"/>
            <a:ext cx="12191999" cy="685811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FADC6A-C03C-FA40-945E-78CF3E5D6417}"/>
              </a:ext>
            </a:extLst>
          </p:cNvPr>
          <p:cNvSpPr/>
          <p:nvPr userDrawn="1"/>
        </p:nvSpPr>
        <p:spPr>
          <a:xfrm>
            <a:off x="4" y="6309360"/>
            <a:ext cx="12192000" cy="54864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82F82F6-DD3A-6542-B9F3-C0D30FF90147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.</a:t>
            </a:r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  </a:t>
            </a:r>
            <a:r>
              <a:rPr lang="en-US" sz="600" b="0" baseline="0">
                <a:solidFill>
                  <a:schemeClr val="accent4"/>
                </a:solidFill>
                <a:latin typeface="+mn-lt"/>
                <a:ea typeface="Roboto" panose="02000000000000000000" pitchFamily="2" charset="0"/>
              </a:rPr>
              <a:t>v22</a:t>
            </a:r>
            <a:endParaRPr lang="en-US" sz="800" b="0">
              <a:solidFill>
                <a:schemeClr val="accent4"/>
              </a:solidFill>
              <a:latin typeface="+mn-lt"/>
              <a:ea typeface="Roboto" panose="02000000000000000000" pitchFamily="2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6780783-8696-E840-8BEB-D02FFF5E87FC}"/>
              </a:ext>
            </a:extLst>
          </p:cNvPr>
          <p:cNvSpPr/>
          <p:nvPr userDrawn="1"/>
        </p:nvSpPr>
        <p:spPr>
          <a:xfrm>
            <a:off x="4" y="6312577"/>
            <a:ext cx="12192000" cy="4116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FCB00F1-1AE1-1E4F-A48A-1A42B5A63F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58561" y="2331266"/>
            <a:ext cx="10425738" cy="1892454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/>
              <a:t>Aptos PowerPoint Template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92F7B898-5044-A14C-A3B6-82B8E39E29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58561" y="4389520"/>
            <a:ext cx="6152079" cy="41165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5093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8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6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7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5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Nam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73AFCA19-727C-A04E-87CD-AF8A8183C0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8562" y="4801171"/>
            <a:ext cx="6152078" cy="411652"/>
          </a:xfrm>
        </p:spPr>
        <p:txBody>
          <a:bodyPr>
            <a:noAutofit/>
          </a:bodyPr>
          <a:lstStyle>
            <a:lvl1pPr marL="0" indent="0">
              <a:buNone/>
              <a:defRPr sz="160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  <a:lvl2pPr marL="370488" indent="0">
              <a:buNone/>
              <a:defRPr sz="1620">
                <a:solidFill>
                  <a:schemeClr val="accent1"/>
                </a:solidFill>
              </a:defRPr>
            </a:lvl2pPr>
            <a:lvl3pPr marL="823307" indent="0">
              <a:buNone/>
              <a:defRPr sz="1620">
                <a:solidFill>
                  <a:schemeClr val="accent1"/>
                </a:solidFill>
              </a:defRPr>
            </a:lvl3pPr>
            <a:lvl4pPr marL="1152631" indent="0">
              <a:buNone/>
              <a:defRPr sz="1620">
                <a:solidFill>
                  <a:schemeClr val="accent1"/>
                </a:solidFill>
              </a:defRPr>
            </a:lvl4pPr>
            <a:lvl5pPr marL="1481953" indent="0">
              <a:buNone/>
              <a:defRPr sz="162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Title, Company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AB75F62C-AFCE-FF45-AFC1-4B833BADAA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72416" y="5350041"/>
            <a:ext cx="3096705" cy="39307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 Condensed" panose="02000000000000000000" pitchFamily="2" charset="0"/>
              </a:defRPr>
            </a:lvl1pPr>
            <a:lvl2pPr marL="370488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2pPr>
            <a:lvl3pPr marL="823307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3pPr>
            <a:lvl4pPr marL="1152631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4pPr>
            <a:lvl5pPr marL="1481953" indent="0">
              <a:buNone/>
              <a:defRPr sz="1440">
                <a:solidFill>
                  <a:schemeClr val="accent3"/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5FCE3D-B355-0C48-87B7-EFBFAA2991A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702" y="403687"/>
            <a:ext cx="3017520" cy="176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002523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Two_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>
            <a:spLocks/>
          </p:cNvSpPr>
          <p:nvPr userDrawn="1"/>
        </p:nvSpPr>
        <p:spPr>
          <a:xfrm>
            <a:off x="0" y="0"/>
            <a:ext cx="12191999" cy="630936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9511" y="1406290"/>
            <a:ext cx="11432977" cy="4754880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</a:defRPr>
            </a:lvl1pPr>
            <a:lvl2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1F0C5A-B5D2-FC49-AEA4-3E6EC8BF8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9FC31DE3-DA1F-BB47-8181-B7C3FD1D7A1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60811311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4299214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ark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</p:spTree>
    <p:extLst>
      <p:ext uri="{BB962C8B-B14F-4D97-AF65-F5344CB8AC3E}">
        <p14:creationId xmlns:p14="http://schemas.microsoft.com/office/powerpoint/2010/main" val="4081990793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ptos ONE XP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268C687-9DEC-DD49-B7F1-C9DBDD0F947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90000">
                <a:schemeClr val="accent3">
                  <a:lumMod val="40000"/>
                  <a:lumOff val="60000"/>
                </a:schemeClr>
              </a:gs>
              <a:gs pos="35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66D0DB-3976-0F43-A691-F1E573CA1929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C4149B-1FF6-4966-B531-4F19B286B74B}" type="slidenum">
              <a:rPr lang="en-US" sz="800" b="0" smtClean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pPr marL="0" marR="0" indent="0" algn="l" defTabSz="10189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b="0" baseline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   •   </a:t>
            </a:r>
            <a:r>
              <a:rPr lang="en-US" sz="800" b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.</a:t>
            </a:r>
            <a:endParaRPr lang="en-US" sz="800" b="0">
              <a:solidFill>
                <a:schemeClr val="accent3">
                  <a:lumMod val="7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464103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Aptos ONE XP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56685E2-5436-8A40-9609-606CD5562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90000">
                <a:schemeClr val="tx2">
                  <a:lumMod val="75000"/>
                </a:schemeClr>
              </a:gs>
              <a:gs pos="35000">
                <a:schemeClr val="tx1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1EAEEF-5073-5E43-8F3C-D145AD42E45D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C4149B-1FF6-4966-B531-4F19B286B74B}" type="slidenum">
              <a:rPr lang="en-US" sz="800" b="0" smtClean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pPr marL="0" marR="0" indent="0" algn="l" defTabSz="10189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b="0" baseline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   •   </a:t>
            </a:r>
            <a:r>
              <a:rPr lang="en-US" sz="800" b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3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.</a:t>
            </a:r>
            <a:endParaRPr lang="en-US" sz="800" b="0">
              <a:solidFill>
                <a:schemeClr val="accent3">
                  <a:lumMod val="7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593317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size Image w/ Titles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51218B42-E4FE-2E4C-ABD2-15065106F7B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309360"/>
          </a:xfrm>
          <a:solidFill>
            <a:schemeClr val="accent3">
              <a:lumMod val="60000"/>
              <a:lumOff val="4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F0526EF-6B2E-5140-B8D4-12B8795A7E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01538"/>
            <a:ext cx="11432976" cy="7315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>
              <a:defRPr sz="36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488F244D-AD69-304C-B080-66332A1DBE4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0780" y="5202251"/>
            <a:ext cx="11411712" cy="274320"/>
          </a:xfrm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61089654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ontent, 1/2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5842" y="0"/>
            <a:ext cx="6094255" cy="630967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9512" y="1478340"/>
            <a:ext cx="5356749" cy="465471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639407"/>
            <a:ext cx="5345423" cy="612851"/>
          </a:xfr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34AF0EE-3F4D-5040-A3ED-8124B7E0929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5335481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730549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mage, 1/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4255" cy="630967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2138" y="1478340"/>
            <a:ext cx="5356749" cy="465471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82142" y="633995"/>
            <a:ext cx="5345423" cy="612851"/>
          </a:xfr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34AF0EE-3F4D-5040-A3ED-8124B7E0929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03406" y="348246"/>
            <a:ext cx="5335481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602534980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ntent, 2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6480" y="0"/>
            <a:ext cx="8123618" cy="630967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B6AACED8-1DF5-FD4D-8AB8-F23272515B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3777" y="2057400"/>
            <a:ext cx="3340930" cy="407565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9C391E6D-A876-DE4C-B36D-5DBDC58CB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9" y="633995"/>
            <a:ext cx="3333866" cy="1112302"/>
          </a:xfr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ADEE1A16-F5A3-9B46-8B82-EA03EEDA740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97041" y="348246"/>
            <a:ext cx="3327666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07851074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image, 1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8125521" cy="630967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497957" y="2057400"/>
            <a:ext cx="3340930" cy="407565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93699" y="640760"/>
            <a:ext cx="3333866" cy="1112302"/>
          </a:xfr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34AF0EE-3F4D-5040-A3ED-8124B7E0929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511221" y="348246"/>
            <a:ext cx="3327666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67053611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67C1D04C-9E3C-0C42-8C19-CD189AED9A80}"/>
              </a:ext>
            </a:extLst>
          </p:cNvPr>
          <p:cNvGrpSpPr/>
          <p:nvPr userDrawn="1"/>
        </p:nvGrpSpPr>
        <p:grpSpPr>
          <a:xfrm>
            <a:off x="4" y="5715000"/>
            <a:ext cx="12192000" cy="1143000"/>
            <a:chOff x="4" y="5715000"/>
            <a:chExt cx="12192000" cy="1143000"/>
          </a:xfrm>
        </p:grpSpPr>
        <p:sp>
          <p:nvSpPr>
            <p:cNvPr id="16" name="Rectangle 15"/>
            <p:cNvSpPr/>
            <p:nvPr/>
          </p:nvSpPr>
          <p:spPr>
            <a:xfrm>
              <a:off x="4" y="5715000"/>
              <a:ext cx="12192000" cy="1143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4" y="5715000"/>
              <a:ext cx="12192000" cy="4116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</p:grp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16438" y="341614"/>
            <a:ext cx="5331727" cy="87333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2" name="Content Placeholder 4"/>
          <p:cNvSpPr>
            <a:spLocks noGrp="1"/>
          </p:cNvSpPr>
          <p:nvPr userDrawn="1">
            <p:ph sz="quarter" idx="14" hasCustomPrompt="1"/>
          </p:nvPr>
        </p:nvSpPr>
        <p:spPr>
          <a:xfrm>
            <a:off x="697584" y="1473661"/>
            <a:ext cx="10787332" cy="3769184"/>
          </a:xfrm>
        </p:spPr>
        <p:txBody>
          <a:bodyPr>
            <a:normAutofit/>
          </a:bodyPr>
          <a:lstStyle>
            <a:lvl1pPr marL="228600" indent="-228600"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Welcome</a:t>
            </a:r>
          </a:p>
          <a:p>
            <a:pPr lvl="0"/>
            <a:r>
              <a:rPr lang="en-US"/>
              <a:t>Our Company</a:t>
            </a:r>
          </a:p>
          <a:p>
            <a:pPr lvl="0"/>
            <a:r>
              <a:rPr lang="en-US"/>
              <a:t>Our Markets</a:t>
            </a:r>
          </a:p>
          <a:p>
            <a:pPr lvl="0"/>
            <a:r>
              <a:rPr lang="en-US"/>
              <a:t>More Topics</a:t>
            </a:r>
          </a:p>
          <a:p>
            <a:pPr lvl="0"/>
            <a:r>
              <a:rPr lang="en-US"/>
              <a:t>Break</a:t>
            </a:r>
          </a:p>
          <a:p>
            <a:pPr lvl="0"/>
            <a:r>
              <a:rPr lang="en-US"/>
              <a:t>Even More Topics</a:t>
            </a:r>
          </a:p>
          <a:p>
            <a:pPr lvl="0"/>
            <a:r>
              <a:rPr lang="en-US"/>
              <a:t>Wrap Up &amp; Discuss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8C9BCB-FADA-F041-AF9D-D16CBBDFCFB8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C4149B-1FF6-4966-B531-4F19B286B74B}" type="slidenum">
              <a:rPr lang="en-US" sz="800" b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pPr marL="0" marR="0" indent="0" algn="l" defTabSz="10189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   •   </a:t>
            </a:r>
            <a:r>
              <a:rPr lang="en-US" sz="800" b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.  </a:t>
            </a:r>
            <a:r>
              <a:rPr lang="en-US" sz="600" b="0" baseline="0">
                <a:solidFill>
                  <a:schemeClr val="accent4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v22</a:t>
            </a:r>
            <a:endParaRPr lang="en-US" sz="800" b="0">
              <a:solidFill>
                <a:schemeClr val="accent4">
                  <a:lumMod val="7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B4E893F-15A8-9C49-9211-67B181FBD1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50476" y="6076329"/>
            <a:ext cx="1234440" cy="48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442878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ntent, 1/3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25521" y="0"/>
            <a:ext cx="4064576" cy="630967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9512" y="1478340"/>
            <a:ext cx="7313375" cy="465471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79167"/>
            <a:ext cx="7297912" cy="668251"/>
          </a:xfrm>
        </p:spPr>
        <p:txBody>
          <a:bodyPr anchor="ctr">
            <a:sp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34AF0EE-3F4D-5040-A3ED-8124B7E0929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7284339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55070522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image,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C61A82C0-784D-3649-8BCB-B9EE1716F14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064576" cy="630967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5F0EF8-3443-914D-B67C-AA0D5C3247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74434" y="1478340"/>
            <a:ext cx="7313375" cy="465471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0F257C3-662F-D346-A730-C155BABA53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4438" y="579167"/>
            <a:ext cx="7297912" cy="668251"/>
          </a:xfrm>
        </p:spPr>
        <p:txBody>
          <a:bodyPr anchor="ctr">
            <a:sp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6829AB33-DEF1-1742-9E10-867EA2A57FD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495702" y="348246"/>
            <a:ext cx="7284339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73604470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ntent, 3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49213" y="0"/>
            <a:ext cx="9142787" cy="630967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9696" y="2475348"/>
            <a:ext cx="2502836" cy="3657710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16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4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2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1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05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699" y="547533"/>
            <a:ext cx="2497544" cy="1728528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0683242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, 1/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2787" cy="630967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374426" y="2475348"/>
            <a:ext cx="2502836" cy="3657710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16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4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2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1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05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4429" y="547533"/>
            <a:ext cx="2497544" cy="1728528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82465179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content, 1/4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9AA746D-0A64-8740-875F-ED3FFA418F9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144690" y="0"/>
            <a:ext cx="3045407" cy="630967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9512" y="1478340"/>
            <a:ext cx="8227775" cy="465471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79167"/>
            <a:ext cx="8210379" cy="668251"/>
          </a:xfrm>
        </p:spPr>
        <p:txBody>
          <a:bodyPr anchor="ctr">
            <a:sp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34AF0EE-3F4D-5040-A3ED-8124B7E0929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1" y="348246"/>
            <a:ext cx="8195108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36252529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image, 3/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69974" y="1478340"/>
            <a:ext cx="8227775" cy="465471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B7E291B-4BDB-AE40-8585-9D4DFDF84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69978" y="579167"/>
            <a:ext cx="8210379" cy="668251"/>
          </a:xfrm>
        </p:spPr>
        <p:txBody>
          <a:bodyPr anchor="ctr">
            <a:sp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34AF0EE-3F4D-5040-A3ED-8124B7E0929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91243" y="348246"/>
            <a:ext cx="8195108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DD9B3B5-28B8-DA40-B14A-5800AD87360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045407" cy="630967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</p:spTree>
    <p:extLst>
      <p:ext uri="{BB962C8B-B14F-4D97-AF65-F5344CB8AC3E}">
        <p14:creationId xmlns:p14="http://schemas.microsoft.com/office/powerpoint/2010/main" val="1724829442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9512" y="341615"/>
            <a:ext cx="11432976" cy="731520"/>
          </a:xfrm>
        </p:spPr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C68E97B8-F698-424A-AD51-8A1D2C23874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3942" y="1478340"/>
            <a:ext cx="6095843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B4874436-BCF1-9346-A930-01BA179A99A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901" y="1478340"/>
            <a:ext cx="6095843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2764055-93FB-9843-9342-16B243EEFAAF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1478636"/>
            <a:ext cx="0" cy="4831330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9326924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w/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BE7DC5B-D158-E745-A3C6-12230FBBE66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3942" y="1478340"/>
            <a:ext cx="6095843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CA6CF791-3924-E241-BAD7-2AE789D3DC8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901" y="1478340"/>
            <a:ext cx="6095843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2DC5021-A4C2-0B45-BFAB-CEC1E2C89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3C99C1D-F59A-D648-88D1-266E448B427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0E4EA5-08F4-2E43-BD3F-20E196570011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1478636"/>
            <a:ext cx="0" cy="4831330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0210563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18AA017-57BE-8349-A445-4C7DE1F5DC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3942" y="1478340"/>
            <a:ext cx="6095843" cy="338297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5ED828A4-4EDF-B441-A57A-B90D139E9A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901" y="1478340"/>
            <a:ext cx="6095843" cy="338297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E08D35-4C85-9F43-A844-8F3364C3CD52}"/>
              </a:ext>
            </a:extLst>
          </p:cNvPr>
          <p:cNvSpPr/>
          <p:nvPr userDrawn="1"/>
        </p:nvSpPr>
        <p:spPr>
          <a:xfrm>
            <a:off x="0" y="4847819"/>
            <a:ext cx="6094255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1EC676-913F-504E-872C-F034FEB52341}"/>
              </a:ext>
            </a:extLst>
          </p:cNvPr>
          <p:cNvSpPr/>
          <p:nvPr userDrawn="1"/>
        </p:nvSpPr>
        <p:spPr>
          <a:xfrm>
            <a:off x="6094255" y="4847819"/>
            <a:ext cx="6094255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A2C338-F608-4B40-872D-5D399CBF9E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1478636"/>
            <a:ext cx="0" cy="4831330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309719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ontent w/ Two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18AA017-57BE-8349-A445-4C7DE1F5DC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3942" y="1478340"/>
            <a:ext cx="6095843" cy="338297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5ED828A4-4EDF-B441-A57A-B90D139E9AA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901" y="1478340"/>
            <a:ext cx="6095843" cy="338297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2E08D35-4C85-9F43-A844-8F3364C3CD52}"/>
              </a:ext>
            </a:extLst>
          </p:cNvPr>
          <p:cNvSpPr/>
          <p:nvPr userDrawn="1"/>
        </p:nvSpPr>
        <p:spPr>
          <a:xfrm>
            <a:off x="0" y="4847819"/>
            <a:ext cx="6094255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1EC676-913F-504E-872C-F034FEB52341}"/>
              </a:ext>
            </a:extLst>
          </p:cNvPr>
          <p:cNvSpPr/>
          <p:nvPr userDrawn="1"/>
        </p:nvSpPr>
        <p:spPr>
          <a:xfrm>
            <a:off x="6094255" y="4847819"/>
            <a:ext cx="6094255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A2C338-F608-4B40-872D-5D399CBF9E59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6000" y="1478636"/>
            <a:ext cx="0" cy="4831330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>
            <a:extLst>
              <a:ext uri="{FF2B5EF4-FFF2-40B4-BE49-F238E27FC236}">
                <a16:creationId xmlns:a16="http://schemas.microsoft.com/office/drawing/2014/main" id="{5FED95E8-9193-2A48-AFA1-033A48571D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35BB6F7D-AD5C-B045-B8E9-92CCAF24DAB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11186524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Agenda Slide with Ti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1963146" y="1473661"/>
            <a:ext cx="9521770" cy="3769184"/>
          </a:xfrm>
        </p:spPr>
        <p:txBody>
          <a:bodyPr>
            <a:normAutofit/>
          </a:bodyPr>
          <a:lstStyle>
            <a:lvl1pPr marL="0" indent="0">
              <a:buClr>
                <a:schemeClr val="accent3"/>
              </a:buClr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Welcome</a:t>
            </a:r>
          </a:p>
          <a:p>
            <a:pPr lvl="0"/>
            <a:r>
              <a:rPr lang="en-US"/>
              <a:t>Our Company</a:t>
            </a:r>
          </a:p>
          <a:p>
            <a:pPr lvl="0"/>
            <a:r>
              <a:rPr lang="en-US"/>
              <a:t>Our Markets</a:t>
            </a:r>
          </a:p>
          <a:p>
            <a:pPr lvl="0"/>
            <a:r>
              <a:rPr lang="en-US"/>
              <a:t>More Topics</a:t>
            </a:r>
          </a:p>
          <a:p>
            <a:pPr lvl="0"/>
            <a:r>
              <a:rPr lang="en-US"/>
              <a:t>Break</a:t>
            </a:r>
          </a:p>
          <a:p>
            <a:pPr lvl="0"/>
            <a:r>
              <a:rPr lang="en-US"/>
              <a:t>Even More Topics</a:t>
            </a:r>
          </a:p>
          <a:p>
            <a:pPr lvl="0"/>
            <a:r>
              <a:rPr lang="en-US"/>
              <a:t>Wrap Up &amp; Discussion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97579" y="1473661"/>
            <a:ext cx="1121067" cy="3769184"/>
          </a:xfrm>
        </p:spPr>
        <p:txBody>
          <a:bodyPr>
            <a:normAutofit/>
          </a:bodyPr>
          <a:lstStyle>
            <a:lvl1pPr marL="0" indent="0" algn="r">
              <a:buClr>
                <a:schemeClr val="accent3"/>
              </a:buClr>
              <a:buFontTx/>
              <a:buNone/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8:00</a:t>
            </a:r>
          </a:p>
          <a:p>
            <a:pPr lvl="0"/>
            <a:r>
              <a:rPr lang="en-US"/>
              <a:t>9:00</a:t>
            </a:r>
          </a:p>
          <a:p>
            <a:pPr lvl="0"/>
            <a:r>
              <a:rPr lang="en-US"/>
              <a:t>10:30</a:t>
            </a:r>
          </a:p>
          <a:p>
            <a:pPr lvl="0"/>
            <a:r>
              <a:rPr lang="en-US"/>
              <a:t>11:30</a:t>
            </a:r>
          </a:p>
          <a:p>
            <a:pPr lvl="0"/>
            <a:r>
              <a:rPr lang="en-US"/>
              <a:t>12:00</a:t>
            </a:r>
          </a:p>
          <a:p>
            <a:pPr lvl="0"/>
            <a:r>
              <a:rPr lang="en-US"/>
              <a:t>1:00</a:t>
            </a:r>
          </a:p>
          <a:p>
            <a:pPr lvl="0"/>
            <a:r>
              <a:rPr lang="en-US"/>
              <a:t>2:00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91FF652-1F24-BD4A-B3AD-A2D5B128CC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6438" y="341614"/>
            <a:ext cx="5331727" cy="87333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B08F780-9821-FD4E-BE2E-583BF1D042D1}"/>
              </a:ext>
            </a:extLst>
          </p:cNvPr>
          <p:cNvGrpSpPr/>
          <p:nvPr userDrawn="1"/>
        </p:nvGrpSpPr>
        <p:grpSpPr>
          <a:xfrm>
            <a:off x="4" y="5715000"/>
            <a:ext cx="12192000" cy="1143000"/>
            <a:chOff x="4" y="5715000"/>
            <a:chExt cx="12192000" cy="1143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D8EC795-E13B-6643-93B0-4EB6AEBFFEA6}"/>
                </a:ext>
              </a:extLst>
            </p:cNvPr>
            <p:cNvSpPr/>
            <p:nvPr/>
          </p:nvSpPr>
          <p:spPr>
            <a:xfrm>
              <a:off x="4" y="5715000"/>
              <a:ext cx="12192000" cy="1143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C8E595B-8F2F-AA4C-9CB8-5193377CF0E4}"/>
                </a:ext>
              </a:extLst>
            </p:cNvPr>
            <p:cNvSpPr/>
            <p:nvPr userDrawn="1"/>
          </p:nvSpPr>
          <p:spPr>
            <a:xfrm>
              <a:off x="4" y="5715000"/>
              <a:ext cx="12192000" cy="4116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1ACB7B5-0A37-C844-AD5E-5A890217314F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C4149B-1FF6-4966-B531-4F19B286B74B}" type="slidenum">
              <a:rPr lang="en-US" sz="800" b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pPr marL="0" marR="0" indent="0" algn="l" defTabSz="10189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   •   </a:t>
            </a:r>
            <a:r>
              <a:rPr lang="en-US" sz="800" b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.  </a:t>
            </a:r>
            <a:r>
              <a:rPr lang="en-US" sz="600" b="0" baseline="0">
                <a:solidFill>
                  <a:schemeClr val="accent4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v22</a:t>
            </a:r>
            <a:endParaRPr lang="en-US" sz="800" b="0">
              <a:solidFill>
                <a:schemeClr val="accent4">
                  <a:lumMod val="7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86E28846-F4EA-3845-B373-1018E7D7B42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50476" y="6076329"/>
            <a:ext cx="1234440" cy="48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869461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0662377-78C6-DF45-976A-52968A61CDF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18779" y="1478044"/>
            <a:ext cx="4073221" cy="483133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1F15726F-3523-EE4C-95DC-658AACBC285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478044"/>
            <a:ext cx="4069080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6431F077-5BF1-954A-8B08-9154559FF6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6032" y="1478044"/>
            <a:ext cx="4059936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151B57C-0B1D-D44A-A364-2116DBBFCC2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6032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6A2CBDD-36C5-744E-B661-68FE506A26AF}"/>
              </a:ext>
            </a:extLst>
          </p:cNvPr>
          <p:cNvCxnSpPr>
            <a:cxnSpLocks/>
          </p:cNvCxnSpPr>
          <p:nvPr userDrawn="1"/>
        </p:nvCxnSpPr>
        <p:spPr>
          <a:xfrm flipV="1">
            <a:off x="812596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3129587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w/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C2EB9B21-9EF8-9548-91CE-64DA298F8D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814567B-FB4D-4346-BF28-D8EAD73C8F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875EAEE6-13DA-2541-B6D0-2B235535752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18779" y="1478044"/>
            <a:ext cx="4073221" cy="483133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42F35D5F-EE6B-FB4D-8679-638204D38C5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478044"/>
            <a:ext cx="4069080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E85DD4BF-4919-354B-B1D7-A8ECD18B14D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6032" y="1478044"/>
            <a:ext cx="4059936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20A95F45-4FD6-FC4F-BF13-F1C228AAE52F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6032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E6EC2F7-D7D1-C742-BC02-82A197C8DBA9}"/>
              </a:ext>
            </a:extLst>
          </p:cNvPr>
          <p:cNvCxnSpPr>
            <a:cxnSpLocks/>
          </p:cNvCxnSpPr>
          <p:nvPr userDrawn="1"/>
        </p:nvCxnSpPr>
        <p:spPr>
          <a:xfrm flipV="1">
            <a:off x="812596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3898732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0662377-78C6-DF45-976A-52968A61CDF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18779" y="1478044"/>
            <a:ext cx="4073221" cy="3383266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1F15726F-3523-EE4C-95DC-658AACBC285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478044"/>
            <a:ext cx="4069080" cy="3383266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6431F077-5BF1-954A-8B08-9154559FF6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6032" y="1478044"/>
            <a:ext cx="4059936" cy="3383266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BB815B-670A-3C4F-9695-AB928C5B5D0D}"/>
              </a:ext>
            </a:extLst>
          </p:cNvPr>
          <p:cNvSpPr/>
          <p:nvPr userDrawn="1"/>
        </p:nvSpPr>
        <p:spPr>
          <a:xfrm>
            <a:off x="0" y="4847819"/>
            <a:ext cx="4062989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B97EA3-0B34-3B43-94BC-B9988762ED21}"/>
              </a:ext>
            </a:extLst>
          </p:cNvPr>
          <p:cNvSpPr/>
          <p:nvPr userDrawn="1"/>
        </p:nvSpPr>
        <p:spPr>
          <a:xfrm>
            <a:off x="4062989" y="4847819"/>
            <a:ext cx="4062989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1BBE94-6578-0E46-8C29-5A2DF8A48F83}"/>
              </a:ext>
            </a:extLst>
          </p:cNvPr>
          <p:cNvSpPr/>
          <p:nvPr userDrawn="1"/>
        </p:nvSpPr>
        <p:spPr>
          <a:xfrm>
            <a:off x="8125521" y="4847819"/>
            <a:ext cx="4062989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85C889-304B-8A4A-ACC2-14B49171BF4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6032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804AA0D-64DA-1743-BB4E-F1564697B567}"/>
              </a:ext>
            </a:extLst>
          </p:cNvPr>
          <p:cNvCxnSpPr>
            <a:cxnSpLocks/>
          </p:cNvCxnSpPr>
          <p:nvPr userDrawn="1"/>
        </p:nvCxnSpPr>
        <p:spPr>
          <a:xfrm flipV="1">
            <a:off x="812596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1687210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ontent w/ Two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90662377-78C6-DF45-976A-52968A61CDF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18779" y="1478044"/>
            <a:ext cx="4073221" cy="3383266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1F15726F-3523-EE4C-95DC-658AACBC285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478044"/>
            <a:ext cx="4069080" cy="3383266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6431F077-5BF1-954A-8B08-9154559FF62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6032" y="1478044"/>
            <a:ext cx="4059936" cy="3383266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FBB815B-670A-3C4F-9695-AB928C5B5D0D}"/>
              </a:ext>
            </a:extLst>
          </p:cNvPr>
          <p:cNvSpPr/>
          <p:nvPr userDrawn="1"/>
        </p:nvSpPr>
        <p:spPr>
          <a:xfrm>
            <a:off x="0" y="4847819"/>
            <a:ext cx="4062989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6B97EA3-0B34-3B43-94BC-B9988762ED21}"/>
              </a:ext>
            </a:extLst>
          </p:cNvPr>
          <p:cNvSpPr/>
          <p:nvPr userDrawn="1"/>
        </p:nvSpPr>
        <p:spPr>
          <a:xfrm>
            <a:off x="4062989" y="4847819"/>
            <a:ext cx="4062989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1BBE94-6578-0E46-8C29-5A2DF8A48F83}"/>
              </a:ext>
            </a:extLst>
          </p:cNvPr>
          <p:cNvSpPr/>
          <p:nvPr userDrawn="1"/>
        </p:nvSpPr>
        <p:spPr>
          <a:xfrm>
            <a:off x="8125521" y="4847819"/>
            <a:ext cx="4062989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85C889-304B-8A4A-ACC2-14B49171BF4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66032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804AA0D-64DA-1743-BB4E-F1564697B567}"/>
              </a:ext>
            </a:extLst>
          </p:cNvPr>
          <p:cNvCxnSpPr>
            <a:cxnSpLocks/>
          </p:cNvCxnSpPr>
          <p:nvPr userDrawn="1"/>
        </p:nvCxnSpPr>
        <p:spPr>
          <a:xfrm flipV="1">
            <a:off x="812596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>
            <a:extLst>
              <a:ext uri="{FF2B5EF4-FFF2-40B4-BE49-F238E27FC236}">
                <a16:creationId xmlns:a16="http://schemas.microsoft.com/office/drawing/2014/main" id="{FA63F576-2BE5-0742-A96A-3AE05CEB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8C446E9A-28C8-6840-8E37-BE63196227F2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29227123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4676347D-4079-B844-88E3-368F8646188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478044"/>
            <a:ext cx="3043822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9DD57EC-D1ED-6340-A008-813D11FE9E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049393" y="1478044"/>
            <a:ext cx="3043822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5FE1C2A-31A7-B248-8ED5-3597DF3CB20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8786" y="1478044"/>
            <a:ext cx="3043822" cy="483133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0453DBA2-E43B-E44B-9F62-2ADA0C5C6DF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48178" y="1478044"/>
            <a:ext cx="3043822" cy="4831330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11943C9-BC36-014E-A970-661AAF1F1650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731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703055-A347-9942-914D-439E7392FF85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427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2FC045E-A3F7-C743-A110-42D88125EC5E}"/>
              </a:ext>
            </a:extLst>
          </p:cNvPr>
          <p:cNvCxnSpPr>
            <a:cxnSpLocks/>
          </p:cNvCxnSpPr>
          <p:nvPr userDrawn="1"/>
        </p:nvCxnSpPr>
        <p:spPr>
          <a:xfrm flipV="1">
            <a:off x="914120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9266826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w/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4676347D-4079-B844-88E3-368F8646188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478044"/>
            <a:ext cx="3043822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9DD57EC-D1ED-6340-A008-813D11FE9E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049393" y="1478044"/>
            <a:ext cx="3043822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5FE1C2A-31A7-B248-8ED5-3597DF3CB20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8786" y="1478044"/>
            <a:ext cx="3043822" cy="483133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0453DBA2-E43B-E44B-9F62-2ADA0C5C6DF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48178" y="1478044"/>
            <a:ext cx="3043822" cy="4831330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11943C9-BC36-014E-A970-661AAF1F1650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731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5703055-A347-9942-914D-439E7392FF85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427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2FC045E-A3F7-C743-A110-42D88125EC5E}"/>
              </a:ext>
            </a:extLst>
          </p:cNvPr>
          <p:cNvCxnSpPr>
            <a:cxnSpLocks/>
          </p:cNvCxnSpPr>
          <p:nvPr userDrawn="1"/>
        </p:nvCxnSpPr>
        <p:spPr>
          <a:xfrm flipV="1">
            <a:off x="914120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C2EB9B21-9EF8-9548-91CE-64DA298F8D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814567B-FB4D-4346-BF28-D8EAD73C8F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25008001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ontent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F37B901-E7BC-9140-8FDC-59CA333BFC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1342"/>
            <a:ext cx="3043822" cy="336829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D5906DD9-0DD7-9B4F-B512-A5D97E1315D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49393" y="1481342"/>
            <a:ext cx="3043822" cy="336829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16B62D27-F442-4748-95D2-AA8F99AEFBC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8786" y="1481342"/>
            <a:ext cx="3043822" cy="336829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CDFECFE-C092-1941-B478-48102CB944D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48178" y="1481342"/>
            <a:ext cx="3043822" cy="3368290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20810D-F1DD-E84A-9BBD-25C519B8E634}"/>
              </a:ext>
            </a:extLst>
          </p:cNvPr>
          <p:cNvSpPr/>
          <p:nvPr userDrawn="1"/>
        </p:nvSpPr>
        <p:spPr>
          <a:xfrm>
            <a:off x="0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A211892-3E37-CC40-B76E-12713EE248F4}"/>
              </a:ext>
            </a:extLst>
          </p:cNvPr>
          <p:cNvSpPr/>
          <p:nvPr userDrawn="1"/>
        </p:nvSpPr>
        <p:spPr>
          <a:xfrm>
            <a:off x="3047311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2A5626-8F12-374D-971B-887EDB89BF54}"/>
              </a:ext>
            </a:extLst>
          </p:cNvPr>
          <p:cNvSpPr/>
          <p:nvPr userDrawn="1"/>
        </p:nvSpPr>
        <p:spPr>
          <a:xfrm>
            <a:off x="6094278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55E331-E7A5-844D-BA7E-FBDE92E0647D}"/>
              </a:ext>
            </a:extLst>
          </p:cNvPr>
          <p:cNvSpPr/>
          <p:nvPr userDrawn="1"/>
        </p:nvSpPr>
        <p:spPr>
          <a:xfrm>
            <a:off x="9141200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BF735E-97EF-7A42-84FF-948987B2C9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731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3F0F13-6FE8-1242-8CF9-E1015314423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427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C6903DC-7A8A-1F4B-A5CC-76B6FF8745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4120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9952184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ontent w/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0F37B901-E7BC-9140-8FDC-59CA333BFC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481342"/>
            <a:ext cx="3043822" cy="336829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D5906DD9-0DD7-9B4F-B512-A5D97E1315D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049393" y="1481342"/>
            <a:ext cx="3043822" cy="336829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16B62D27-F442-4748-95D2-AA8F99AEFBC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8786" y="1481342"/>
            <a:ext cx="3043822" cy="336829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DCDFECFE-C092-1941-B478-48102CB944D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48178" y="1481342"/>
            <a:ext cx="3043822" cy="3368290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420810D-F1DD-E84A-9BBD-25C519B8E634}"/>
              </a:ext>
            </a:extLst>
          </p:cNvPr>
          <p:cNvSpPr/>
          <p:nvPr userDrawn="1"/>
        </p:nvSpPr>
        <p:spPr>
          <a:xfrm>
            <a:off x="0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A211892-3E37-CC40-B76E-12713EE248F4}"/>
              </a:ext>
            </a:extLst>
          </p:cNvPr>
          <p:cNvSpPr/>
          <p:nvPr userDrawn="1"/>
        </p:nvSpPr>
        <p:spPr>
          <a:xfrm>
            <a:off x="3047311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2A5626-8F12-374D-971B-887EDB89BF54}"/>
              </a:ext>
            </a:extLst>
          </p:cNvPr>
          <p:cNvSpPr/>
          <p:nvPr userDrawn="1"/>
        </p:nvSpPr>
        <p:spPr>
          <a:xfrm>
            <a:off x="6094278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55E331-E7A5-844D-BA7E-FBDE92E0647D}"/>
              </a:ext>
            </a:extLst>
          </p:cNvPr>
          <p:cNvSpPr/>
          <p:nvPr userDrawn="1"/>
        </p:nvSpPr>
        <p:spPr>
          <a:xfrm>
            <a:off x="9141200" y="4849632"/>
            <a:ext cx="3047310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2BF735E-97EF-7A42-84FF-948987B2C99F}"/>
              </a:ext>
            </a:extLst>
          </p:cNvPr>
          <p:cNvCxnSpPr>
            <a:cxnSpLocks/>
          </p:cNvCxnSpPr>
          <p:nvPr userDrawn="1"/>
        </p:nvCxnSpPr>
        <p:spPr>
          <a:xfrm flipV="1">
            <a:off x="304731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93F0F13-6FE8-1242-8CF9-E1015314423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4278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C6903DC-7A8A-1F4B-A5CC-76B6FF8745D6}"/>
              </a:ext>
            </a:extLst>
          </p:cNvPr>
          <p:cNvCxnSpPr>
            <a:cxnSpLocks/>
          </p:cNvCxnSpPr>
          <p:nvPr userDrawn="1"/>
        </p:nvCxnSpPr>
        <p:spPr>
          <a:xfrm flipV="1">
            <a:off x="9141200" y="1481342"/>
            <a:ext cx="0" cy="4828032"/>
          </a:xfrm>
          <a:prstGeom prst="line">
            <a:avLst/>
          </a:prstGeom>
          <a:ln w="12700"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B0FDC12E-6319-8348-AA07-98B84D2353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6AB5FCD-ABA6-394D-9C76-998DB7B88C9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49285871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4676347D-4079-B844-88E3-368F8646188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478044"/>
            <a:ext cx="2432304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9DD57EC-D1ED-6340-A008-813D11FE9E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33066" y="1478044"/>
            <a:ext cx="2441448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5FE1C2A-31A7-B248-8ED5-3597DF3CB20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75276" y="1478044"/>
            <a:ext cx="2441448" cy="483133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0453DBA2-E43B-E44B-9F62-2ADA0C5C6DF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7486" y="1478044"/>
            <a:ext cx="2441448" cy="4831330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45167F00-1D5D-2349-B686-351A53E076D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759696" y="1478044"/>
            <a:ext cx="2432304" cy="4831330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E7579A3-8CCB-AB4A-8D76-0ED5B3C98FD5}"/>
              </a:ext>
            </a:extLst>
          </p:cNvPr>
          <p:cNvGrpSpPr/>
          <p:nvPr userDrawn="1"/>
        </p:nvGrpSpPr>
        <p:grpSpPr>
          <a:xfrm>
            <a:off x="2428463" y="1481342"/>
            <a:ext cx="7331319" cy="4828032"/>
            <a:chOff x="2428463" y="1481342"/>
            <a:chExt cx="7331319" cy="482803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22B38773-7D69-6242-8BD4-54DB0233CC1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2236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0E4B62FC-A582-FD43-95D4-16D41D5E0555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16009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BC2101B-01DB-DF43-8FD4-9D01A831368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59782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8A1BE64-3CDA-D042-8604-2AFB4CE2929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428463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89528647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w/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C2EB9B21-9EF8-9548-91CE-64DA298F8D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814567B-FB4D-4346-BF28-D8EAD73C8F7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55DA2F05-BF19-5A4B-A5A1-07772CD669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478044"/>
            <a:ext cx="2432304" cy="4831330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A0D4423E-29BA-C444-ADDE-0748EAFDEB5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33066" y="1478044"/>
            <a:ext cx="2441448" cy="4831330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FC223C10-80B8-BE4A-8D45-763E796183D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75276" y="1478044"/>
            <a:ext cx="2441448" cy="483133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BAFF83C9-32A0-5543-A3EF-C8594FAFD56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7486" y="1478044"/>
            <a:ext cx="2441448" cy="4831330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B12A3F4B-EBD1-1C47-8BCF-3FA97497129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759696" y="1478044"/>
            <a:ext cx="2432304" cy="4831330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04AC86D-2CC3-4748-8E93-929134D4BDB0}"/>
              </a:ext>
            </a:extLst>
          </p:cNvPr>
          <p:cNvGrpSpPr/>
          <p:nvPr userDrawn="1"/>
        </p:nvGrpSpPr>
        <p:grpSpPr>
          <a:xfrm>
            <a:off x="2428463" y="1481342"/>
            <a:ext cx="7331319" cy="4828032"/>
            <a:chOff x="2428463" y="1481342"/>
            <a:chExt cx="7331319" cy="4828032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5D39A3CE-A138-6946-ADB0-3F657AC0B1B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2236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8C91948-927D-4340-BD11-5F36871374D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16009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1E531D7A-202F-0741-834F-3E47B432754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59782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180B28D-BCFC-5F44-81DF-9CDF103EEF2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428463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0141879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2ED6D0E4-E2D4-4240-A5F8-8642DE93E832}"/>
              </a:ext>
            </a:extLst>
          </p:cNvPr>
          <p:cNvSpPr/>
          <p:nvPr userDrawn="1"/>
        </p:nvSpPr>
        <p:spPr>
          <a:xfrm>
            <a:off x="-495426" y="2308326"/>
            <a:ext cx="11499670" cy="1142047"/>
          </a:xfrm>
          <a:prstGeom prst="roundRect">
            <a:avLst>
              <a:gd name="adj" fmla="val 6154"/>
            </a:avLst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D17E46C-083D-8041-9CF7-0961F696E5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7777" y="2449117"/>
            <a:ext cx="9633855" cy="860465"/>
          </a:xfrm>
        </p:spPr>
        <p:txBody>
          <a:bodyPr anchor="ctr">
            <a:normAutofit/>
          </a:bodyPr>
          <a:lstStyle>
            <a:lvl1pPr algn="l">
              <a:defRPr sz="3600" b="0" cap="none" spc="-5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Section Divider Slide</a:t>
            </a:r>
          </a:p>
        </p:txBody>
      </p:sp>
      <p:sp>
        <p:nvSpPr>
          <p:cNvPr id="26" name="Isosceles Triangle 47">
            <a:extLst>
              <a:ext uri="{FF2B5EF4-FFF2-40B4-BE49-F238E27FC236}">
                <a16:creationId xmlns:a16="http://schemas.microsoft.com/office/drawing/2014/main" id="{53AC4125-4A58-D347-8E94-827E9B53F551}"/>
              </a:ext>
            </a:extLst>
          </p:cNvPr>
          <p:cNvSpPr>
            <a:spLocks/>
          </p:cNvSpPr>
          <p:nvPr userDrawn="1"/>
        </p:nvSpPr>
        <p:spPr>
          <a:xfrm rot="5400000">
            <a:off x="789998" y="2810769"/>
            <a:ext cx="283876" cy="13716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B4C644C-365D-D14F-BB21-FE62E68397E5}"/>
              </a:ext>
            </a:extLst>
          </p:cNvPr>
          <p:cNvGrpSpPr/>
          <p:nvPr userDrawn="1"/>
        </p:nvGrpSpPr>
        <p:grpSpPr>
          <a:xfrm>
            <a:off x="4" y="5715000"/>
            <a:ext cx="12192000" cy="1143000"/>
            <a:chOff x="4" y="5715000"/>
            <a:chExt cx="12192000" cy="114300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A318C23-1754-6344-9147-7594CB2C895E}"/>
                </a:ext>
              </a:extLst>
            </p:cNvPr>
            <p:cNvSpPr/>
            <p:nvPr/>
          </p:nvSpPr>
          <p:spPr>
            <a:xfrm>
              <a:off x="4" y="5715000"/>
              <a:ext cx="12192000" cy="1143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BCFBA9D-EC64-BE46-814E-6A2E2A8CAB6C}"/>
                </a:ext>
              </a:extLst>
            </p:cNvPr>
            <p:cNvSpPr/>
            <p:nvPr userDrawn="1"/>
          </p:nvSpPr>
          <p:spPr>
            <a:xfrm>
              <a:off x="4" y="5715000"/>
              <a:ext cx="12192000" cy="4116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52E55142-20AA-8A40-B79A-DB7EB231D31C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C4149B-1FF6-4966-B531-4F19B286B74B}" type="slidenum">
              <a:rPr lang="en-US" sz="800" b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pPr marL="0" marR="0" indent="0" algn="l" defTabSz="10189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   •   </a:t>
            </a:r>
            <a:r>
              <a:rPr lang="en-US" sz="800" b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.  </a:t>
            </a:r>
            <a:r>
              <a:rPr lang="en-US" sz="600" b="0" baseline="0">
                <a:solidFill>
                  <a:schemeClr val="accent4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v21</a:t>
            </a:r>
            <a:endParaRPr lang="en-US" sz="800" b="0">
              <a:solidFill>
                <a:schemeClr val="accent4">
                  <a:lumMod val="7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4518781-D043-8248-A84A-D26393036F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50476" y="6076329"/>
            <a:ext cx="1234440" cy="48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664632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content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4676347D-4079-B844-88E3-368F8646188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478044"/>
            <a:ext cx="2432304" cy="3371588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29DD57EC-D1ED-6340-A008-813D11FE9E0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33066" y="1478044"/>
            <a:ext cx="2441448" cy="3371588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5FE1C2A-31A7-B248-8ED5-3597DF3CB20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75276" y="1478044"/>
            <a:ext cx="2441448" cy="3371588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0453DBA2-E43B-E44B-9F62-2ADA0C5C6DF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7486" y="1478044"/>
            <a:ext cx="2441448" cy="3371588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45167F00-1D5D-2349-B686-351A53E076D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759696" y="1478044"/>
            <a:ext cx="2432304" cy="3371588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6AD994-D538-5743-A498-B15223E3E77C}"/>
              </a:ext>
            </a:extLst>
          </p:cNvPr>
          <p:cNvSpPr/>
          <p:nvPr userDrawn="1"/>
        </p:nvSpPr>
        <p:spPr>
          <a:xfrm>
            <a:off x="0" y="4849632"/>
            <a:ext cx="2432304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ADCE7A-738F-E342-B5C5-C77A7F70DFA5}"/>
              </a:ext>
            </a:extLst>
          </p:cNvPr>
          <p:cNvSpPr/>
          <p:nvPr userDrawn="1"/>
        </p:nvSpPr>
        <p:spPr>
          <a:xfrm>
            <a:off x="2433066" y="4849632"/>
            <a:ext cx="2441448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110AD8F-BFFA-5D40-B065-6519DF6E8609}"/>
              </a:ext>
            </a:extLst>
          </p:cNvPr>
          <p:cNvSpPr/>
          <p:nvPr userDrawn="1"/>
        </p:nvSpPr>
        <p:spPr>
          <a:xfrm>
            <a:off x="4875276" y="4849632"/>
            <a:ext cx="2441448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5EA85E-D24A-3A47-B804-52756BE4639F}"/>
              </a:ext>
            </a:extLst>
          </p:cNvPr>
          <p:cNvSpPr/>
          <p:nvPr userDrawn="1"/>
        </p:nvSpPr>
        <p:spPr>
          <a:xfrm>
            <a:off x="7317486" y="4849632"/>
            <a:ext cx="2441448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65E2341-9B75-7448-9CDD-E6E054075126}"/>
              </a:ext>
            </a:extLst>
          </p:cNvPr>
          <p:cNvSpPr/>
          <p:nvPr userDrawn="1"/>
        </p:nvSpPr>
        <p:spPr>
          <a:xfrm>
            <a:off x="9759696" y="4849632"/>
            <a:ext cx="2432304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731E931-D4C6-D24F-967E-E6332B2F0CB0}"/>
              </a:ext>
            </a:extLst>
          </p:cNvPr>
          <p:cNvGrpSpPr/>
          <p:nvPr userDrawn="1"/>
        </p:nvGrpSpPr>
        <p:grpSpPr>
          <a:xfrm>
            <a:off x="2428463" y="1481342"/>
            <a:ext cx="7331319" cy="4828032"/>
            <a:chOff x="2428463" y="1481342"/>
            <a:chExt cx="7331319" cy="4828032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97175EB-2A1E-F643-B9DE-32EBC3F9FCDF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2236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7CF020C9-268D-5048-8917-7A795662209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16009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B8BD8774-A5E4-2240-A017-56FDB77734F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59782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4C6D49ED-875A-4D40-BC79-8D9DF0FC81E2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428463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623616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content w/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B0FDC12E-6319-8348-AA07-98B84D2353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7533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A6AB5FCD-ABA6-394D-9C76-998DB7B88C97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00780" y="348246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18AFAF0-35D6-E642-9893-AD379657965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478044"/>
            <a:ext cx="2432304" cy="3371588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CF3FCDFD-3E25-AD4C-A002-7091739D19D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433066" y="1478044"/>
            <a:ext cx="2441448" cy="3371588"/>
          </a:xfrm>
          <a:solidFill>
            <a:schemeClr val="accent5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5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66921DD-5823-274B-B9DF-E13A5A1BAA7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75276" y="1478044"/>
            <a:ext cx="2441448" cy="3371588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2824E7BF-D894-CB48-884A-A778D3F0648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7486" y="1478044"/>
            <a:ext cx="2441448" cy="3371588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3B5741D9-1BEB-1349-B2D3-3AEA5ED7B49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759696" y="1478044"/>
            <a:ext cx="2432304" cy="3371588"/>
          </a:xfrm>
          <a:solidFill>
            <a:schemeClr val="accent4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4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59D9146-833F-5443-AF23-2FCE64058D0E}"/>
              </a:ext>
            </a:extLst>
          </p:cNvPr>
          <p:cNvSpPr/>
          <p:nvPr userDrawn="1"/>
        </p:nvSpPr>
        <p:spPr>
          <a:xfrm>
            <a:off x="0" y="4849632"/>
            <a:ext cx="2432304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BFF41B3-AEA4-A24D-A6DC-D8ACFEB1B16B}"/>
              </a:ext>
            </a:extLst>
          </p:cNvPr>
          <p:cNvSpPr/>
          <p:nvPr userDrawn="1"/>
        </p:nvSpPr>
        <p:spPr>
          <a:xfrm>
            <a:off x="2433066" y="4849632"/>
            <a:ext cx="2441448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0D3070B-9C1A-C844-8ED8-AF97B4E291FB}"/>
              </a:ext>
            </a:extLst>
          </p:cNvPr>
          <p:cNvSpPr/>
          <p:nvPr userDrawn="1"/>
        </p:nvSpPr>
        <p:spPr>
          <a:xfrm>
            <a:off x="4875276" y="4849632"/>
            <a:ext cx="2441448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303C329-9D15-C946-B8E9-99151CB3AA23}"/>
              </a:ext>
            </a:extLst>
          </p:cNvPr>
          <p:cNvSpPr/>
          <p:nvPr userDrawn="1"/>
        </p:nvSpPr>
        <p:spPr>
          <a:xfrm>
            <a:off x="7317486" y="4849632"/>
            <a:ext cx="2441448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653FF46-C026-5646-B1CD-56E281B91035}"/>
              </a:ext>
            </a:extLst>
          </p:cNvPr>
          <p:cNvSpPr/>
          <p:nvPr userDrawn="1"/>
        </p:nvSpPr>
        <p:spPr>
          <a:xfrm>
            <a:off x="9759696" y="4849632"/>
            <a:ext cx="2432304" cy="1463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tx1"/>
              </a:solidFill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077AACA-E0FC-6347-A925-3C7D81D8B296}"/>
              </a:ext>
            </a:extLst>
          </p:cNvPr>
          <p:cNvGrpSpPr/>
          <p:nvPr userDrawn="1"/>
        </p:nvGrpSpPr>
        <p:grpSpPr>
          <a:xfrm>
            <a:off x="2428463" y="1481342"/>
            <a:ext cx="7331319" cy="4828032"/>
            <a:chOff x="2428463" y="1481342"/>
            <a:chExt cx="7331319" cy="482803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427F9510-7975-C047-97ED-F0334EEA88D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2236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E3D500A1-6362-C248-9BC7-484B0B8C9CB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16009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CFDA4F2B-4DB2-7948-8408-7C4ED5DA39F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59782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EA4FCE5-699D-BC4E-B0E5-1C3C6967DA7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428463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02088469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D95D53-6146-AA4A-9175-03E5B6C07C82}"/>
              </a:ext>
            </a:extLst>
          </p:cNvPr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estimonial samp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FA86073-D56E-1E49-8FE0-2D3E999D7F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52881" y="1504319"/>
            <a:ext cx="593725" cy="2262187"/>
          </a:xfrm>
        </p:spPr>
        <p:txBody>
          <a:bodyPr>
            <a:normAutofit/>
          </a:bodyPr>
          <a:lstStyle>
            <a:lvl1pPr marL="0" indent="0">
              <a:buNone/>
              <a:defRPr sz="125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“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A09CD5EB-0B25-B34F-AE22-9AC3A143CA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96372" y="1804655"/>
            <a:ext cx="9230951" cy="282390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lobortis</a:t>
            </a:r>
            <a:r>
              <a:rPr lang="en-US"/>
              <a:t> tempus </a:t>
            </a:r>
            <a:r>
              <a:rPr lang="en-US" err="1"/>
              <a:t>diam</a:t>
            </a:r>
            <a:r>
              <a:rPr lang="en-US"/>
              <a:t> maximus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dolor, id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 non. </a:t>
            </a:r>
            <a:r>
              <a:rPr lang="en-US" err="1"/>
              <a:t>Etiam</a:t>
            </a:r>
            <a:r>
              <a:rPr lang="en-US"/>
              <a:t> non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”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DCCA45F-C7ED-AF45-BD55-A6077A794F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6373" y="4770166"/>
            <a:ext cx="8686800" cy="29015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-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2774877213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imonial with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EFE0305-95F0-1C41-91B9-095C256B9DB6}"/>
              </a:ext>
            </a:extLst>
          </p:cNvPr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939531" y="2241219"/>
            <a:ext cx="1828800" cy="1828800"/>
          </a:xfrm>
          <a:prstGeom prst="ellipse">
            <a:avLst/>
          </a:prstGeom>
          <a:solidFill>
            <a:schemeClr val="bg2">
              <a:lumMod val="95000"/>
            </a:schemeClr>
          </a:solidFill>
          <a:ln w="38100">
            <a:solidFill>
              <a:schemeClr val="bg2"/>
            </a:solidFill>
          </a:ln>
          <a:effectLst>
            <a:outerShdw blurRad="114300" dist="12700" dir="5400000" algn="t" rotWithShape="0">
              <a:prstClr val="black">
                <a:alpha val="15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801">
                <a:solidFill>
                  <a:schemeClr val="accent3"/>
                </a:solidFill>
              </a:defRPr>
            </a:lvl1pPr>
          </a:lstStyle>
          <a:p>
            <a:r>
              <a:rPr lang="en-US"/>
              <a:t>Place logo or imag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069603F-E7AE-5E47-B297-C55B0FA6D5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46135" y="1599774"/>
            <a:ext cx="7772400" cy="307592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2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lobortis</a:t>
            </a:r>
            <a:r>
              <a:rPr lang="en-US"/>
              <a:t> tempus </a:t>
            </a:r>
            <a:r>
              <a:rPr lang="en-US" err="1"/>
              <a:t>diam</a:t>
            </a:r>
            <a:r>
              <a:rPr lang="en-US"/>
              <a:t> maximus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dolor, id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 non. </a:t>
            </a:r>
            <a:r>
              <a:rPr lang="en-US" err="1"/>
              <a:t>Etiam</a:t>
            </a:r>
            <a:r>
              <a:rPr lang="en-US"/>
              <a:t> non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”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B37AE94E-F5CE-F04F-9875-A730195F1E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46135" y="4756061"/>
            <a:ext cx="7772400" cy="29015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- Name, Title, Company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850790B-0DE4-014E-99E5-166F2EB8E3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99000" y="688045"/>
            <a:ext cx="593725" cy="2262187"/>
          </a:xfrm>
        </p:spPr>
        <p:txBody>
          <a:bodyPr>
            <a:normAutofit/>
          </a:bodyPr>
          <a:lstStyle>
            <a:lvl1pPr marL="0" indent="0">
              <a:buNone/>
              <a:defRPr sz="125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“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5E2DCE5-A033-AF42-A5FB-319B7B31AA28}"/>
              </a:ext>
            </a:extLst>
          </p:cNvPr>
          <p:cNvCxnSpPr/>
          <p:nvPr userDrawn="1"/>
        </p:nvCxnSpPr>
        <p:spPr>
          <a:xfrm>
            <a:off x="3381236" y="1098219"/>
            <a:ext cx="0" cy="411480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0961820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3E190B96-9698-F844-A6FC-6779A7679FC9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1999" cy="6309360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996373" y="1392383"/>
            <a:ext cx="8686800" cy="338646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 b="1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lobortis</a:t>
            </a:r>
            <a:r>
              <a:rPr lang="en-US"/>
              <a:t> tempus </a:t>
            </a:r>
            <a:r>
              <a:rPr lang="en-US" err="1"/>
              <a:t>diam</a:t>
            </a:r>
            <a:r>
              <a:rPr lang="en-US"/>
              <a:t> maximus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dolor, id </a:t>
            </a:r>
            <a:r>
              <a:rPr lang="en-US" err="1"/>
              <a:t>vehicula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</a:t>
            </a:r>
            <a:r>
              <a:rPr lang="en-US" err="1"/>
              <a:t>sollicitudin</a:t>
            </a:r>
            <a:r>
              <a:rPr lang="en-US"/>
              <a:t> non. </a:t>
            </a:r>
            <a:r>
              <a:rPr lang="en-US" err="1"/>
              <a:t>Etiam</a:t>
            </a:r>
            <a:r>
              <a:rPr lang="en-US"/>
              <a:t> non </a:t>
            </a:r>
            <a:r>
              <a:rPr lang="en-US" err="1"/>
              <a:t>justo</a:t>
            </a:r>
            <a:r>
              <a:rPr lang="en-US"/>
              <a:t>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blandit</a:t>
            </a:r>
            <a:r>
              <a:rPr lang="en-US"/>
              <a:t> sit </a:t>
            </a:r>
            <a:r>
              <a:rPr lang="en-US" err="1"/>
              <a:t>amet</a:t>
            </a:r>
            <a:r>
              <a:rPr lang="en-US"/>
              <a:t>.”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996373" y="4873552"/>
            <a:ext cx="8686800" cy="290158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- Name, Title, Compan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05A91C-D981-D24A-8656-9F54578C77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52882" y="1083398"/>
            <a:ext cx="593725" cy="2262187"/>
          </a:xfrm>
        </p:spPr>
        <p:txBody>
          <a:bodyPr>
            <a:normAutofit/>
          </a:bodyPr>
          <a:lstStyle>
            <a:lvl1pPr marL="0" indent="0">
              <a:buNone/>
              <a:defRPr sz="125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818922548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Screenshot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5E43A026-AC02-D04F-8070-74564164131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489201" y="570523"/>
            <a:ext cx="7213599" cy="5056554"/>
          </a:xfrm>
          <a:prstGeom prst="roundRect">
            <a:avLst>
              <a:gd name="adj" fmla="val 2216"/>
            </a:avLst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Pad Pro Screenshot</a:t>
            </a:r>
          </a:p>
        </p:txBody>
      </p:sp>
    </p:spTree>
    <p:extLst>
      <p:ext uri="{BB962C8B-B14F-4D97-AF65-F5344CB8AC3E}">
        <p14:creationId xmlns:p14="http://schemas.microsoft.com/office/powerpoint/2010/main" val="1467351554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Screensho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57785" y="570523"/>
            <a:ext cx="7213599" cy="5056554"/>
          </a:xfrm>
          <a:prstGeom prst="roundRect">
            <a:avLst>
              <a:gd name="adj" fmla="val 2216"/>
            </a:avLst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Pad Pro Screenshot</a:t>
            </a:r>
          </a:p>
        </p:txBody>
      </p:sp>
    </p:spTree>
    <p:extLst>
      <p:ext uri="{BB962C8B-B14F-4D97-AF65-F5344CB8AC3E}">
        <p14:creationId xmlns:p14="http://schemas.microsoft.com/office/powerpoint/2010/main" val="1912289623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Pad Screensho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633648D1-45CE-6349-A1B5-84AAA26097E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8593" y="570523"/>
            <a:ext cx="7213599" cy="5056554"/>
          </a:xfrm>
          <a:prstGeom prst="roundRect">
            <a:avLst>
              <a:gd name="adj" fmla="val 2216"/>
            </a:avLst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Pad Pro Screenshot</a:t>
            </a:r>
          </a:p>
        </p:txBody>
      </p:sp>
    </p:spTree>
    <p:extLst>
      <p:ext uri="{BB962C8B-B14F-4D97-AF65-F5344CB8AC3E}">
        <p14:creationId xmlns:p14="http://schemas.microsoft.com/office/powerpoint/2010/main" val="2916498638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Screenshot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073E803F-CF2E-CA41-8CD7-277B1C312F0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46960" y="463986"/>
            <a:ext cx="7498080" cy="4686300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440x900 screenshot</a:t>
            </a:r>
          </a:p>
        </p:txBody>
      </p:sp>
    </p:spTree>
    <p:extLst>
      <p:ext uri="{BB962C8B-B14F-4D97-AF65-F5344CB8AC3E}">
        <p14:creationId xmlns:p14="http://schemas.microsoft.com/office/powerpoint/2010/main" val="129828599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Screensho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189236" y="463986"/>
            <a:ext cx="7498079" cy="4686298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440x900 screenshot</a:t>
            </a:r>
          </a:p>
        </p:txBody>
      </p:sp>
    </p:spTree>
    <p:extLst>
      <p:ext uri="{BB962C8B-B14F-4D97-AF65-F5344CB8AC3E}">
        <p14:creationId xmlns:p14="http://schemas.microsoft.com/office/powerpoint/2010/main" val="2003697591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>
            <a:spLocks/>
          </p:cNvSpPr>
          <p:nvPr userDrawn="1"/>
        </p:nvSpPr>
        <p:spPr>
          <a:xfrm>
            <a:off x="0" y="-57"/>
            <a:ext cx="12191999" cy="6858114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D29CF0F-7FCE-8147-91E5-5291B038AEE6}"/>
              </a:ext>
            </a:extLst>
          </p:cNvPr>
          <p:cNvSpPr/>
          <p:nvPr userDrawn="1"/>
        </p:nvSpPr>
        <p:spPr>
          <a:xfrm>
            <a:off x="-495426" y="2308326"/>
            <a:ext cx="11499670" cy="1142047"/>
          </a:xfrm>
          <a:prstGeom prst="roundRect">
            <a:avLst>
              <a:gd name="adj" fmla="val 6154"/>
            </a:avLst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/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B11FBF98-CA3E-4440-A4AD-96327F1949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7777" y="2449117"/>
            <a:ext cx="9633855" cy="860465"/>
          </a:xfrm>
        </p:spPr>
        <p:txBody>
          <a:bodyPr anchor="ctr">
            <a:normAutofit/>
          </a:bodyPr>
          <a:lstStyle>
            <a:lvl1pPr algn="l">
              <a:defRPr sz="3600" b="0" cap="none" spc="-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Divider Slide</a:t>
            </a:r>
          </a:p>
        </p:txBody>
      </p:sp>
      <p:sp>
        <p:nvSpPr>
          <p:cNvPr id="26" name="Isosceles Triangle 47">
            <a:extLst>
              <a:ext uri="{FF2B5EF4-FFF2-40B4-BE49-F238E27FC236}">
                <a16:creationId xmlns:a16="http://schemas.microsoft.com/office/drawing/2014/main" id="{88742E65-2A94-424C-A582-6E57424D54FF}"/>
              </a:ext>
            </a:extLst>
          </p:cNvPr>
          <p:cNvSpPr>
            <a:spLocks/>
          </p:cNvSpPr>
          <p:nvPr userDrawn="1"/>
        </p:nvSpPr>
        <p:spPr>
          <a:xfrm rot="5400000">
            <a:off x="789998" y="2810769"/>
            <a:ext cx="283876" cy="137160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3660003-940D-254A-9217-94E24F773F77}"/>
              </a:ext>
            </a:extLst>
          </p:cNvPr>
          <p:cNvGrpSpPr/>
          <p:nvPr userDrawn="1"/>
        </p:nvGrpSpPr>
        <p:grpSpPr>
          <a:xfrm>
            <a:off x="4" y="5715000"/>
            <a:ext cx="12192000" cy="1143000"/>
            <a:chOff x="4" y="5715000"/>
            <a:chExt cx="12192000" cy="1143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7A35773-E160-D14A-AD6D-883D47A71ED0}"/>
                </a:ext>
              </a:extLst>
            </p:cNvPr>
            <p:cNvSpPr/>
            <p:nvPr/>
          </p:nvSpPr>
          <p:spPr>
            <a:xfrm>
              <a:off x="4" y="5715000"/>
              <a:ext cx="12192000" cy="1143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03D6E93-04E4-FD46-861A-E09CC13A20A5}"/>
                </a:ext>
              </a:extLst>
            </p:cNvPr>
            <p:cNvSpPr/>
            <p:nvPr userDrawn="1"/>
          </p:nvSpPr>
          <p:spPr>
            <a:xfrm>
              <a:off x="4" y="5715000"/>
              <a:ext cx="12192000" cy="4116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E57AE75-AE14-D545-A68E-5A3556952982}"/>
              </a:ext>
            </a:extLst>
          </p:cNvPr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C4149B-1FF6-4966-B531-4F19B286B74B}" type="slidenum">
              <a:rPr lang="en-US" sz="800" b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pPr marL="0" marR="0" indent="0" algn="l" defTabSz="10189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   •   </a:t>
            </a:r>
            <a:r>
              <a:rPr lang="en-US" sz="800" b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.  </a:t>
            </a:r>
            <a:r>
              <a:rPr lang="en-US" sz="600" b="0" baseline="0">
                <a:solidFill>
                  <a:schemeClr val="accent4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v22</a:t>
            </a:r>
            <a:endParaRPr lang="en-US" sz="800" b="0">
              <a:solidFill>
                <a:schemeClr val="accent4">
                  <a:lumMod val="7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903293-5223-2B4D-B612-AE86397D7E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50476" y="6076329"/>
            <a:ext cx="1234440" cy="488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224265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Screensho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12725" y="463986"/>
            <a:ext cx="7498079" cy="4686299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440x900 screenshot</a:t>
            </a:r>
          </a:p>
        </p:txBody>
      </p:sp>
    </p:spTree>
    <p:extLst>
      <p:ext uri="{BB962C8B-B14F-4D97-AF65-F5344CB8AC3E}">
        <p14:creationId xmlns:p14="http://schemas.microsoft.com/office/powerpoint/2010/main" val="4244945882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POS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161113" y="580565"/>
            <a:ext cx="7863839" cy="4418935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366x768 Screenshot</a:t>
            </a:r>
          </a:p>
        </p:txBody>
      </p:sp>
    </p:spTree>
    <p:extLst>
      <p:ext uri="{BB962C8B-B14F-4D97-AF65-F5344CB8AC3E}">
        <p14:creationId xmlns:p14="http://schemas.microsoft.com/office/powerpoint/2010/main" val="3296111173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POS Screensho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2EAFC332-E469-5D42-A400-EBBA0819428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95599" y="580565"/>
            <a:ext cx="7863839" cy="4418935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366x768 Screenshot</a:t>
            </a:r>
          </a:p>
        </p:txBody>
      </p:sp>
    </p:spTree>
    <p:extLst>
      <p:ext uri="{BB962C8B-B14F-4D97-AF65-F5344CB8AC3E}">
        <p14:creationId xmlns:p14="http://schemas.microsoft.com/office/powerpoint/2010/main" val="1343188703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screen POS Screenshot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BC92D053-F777-0B44-9974-5CA799A7A2C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793971" y="580565"/>
            <a:ext cx="7863839" cy="4418935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366x768 Screenshot</a:t>
            </a:r>
          </a:p>
        </p:txBody>
      </p:sp>
    </p:spTree>
    <p:extLst>
      <p:ext uri="{BB962C8B-B14F-4D97-AF65-F5344CB8AC3E}">
        <p14:creationId xmlns:p14="http://schemas.microsoft.com/office/powerpoint/2010/main" val="4251282314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169444" y="595314"/>
            <a:ext cx="5853113" cy="4389436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024x768 Screenshot</a:t>
            </a:r>
          </a:p>
        </p:txBody>
      </p:sp>
    </p:spTree>
    <p:extLst>
      <p:ext uri="{BB962C8B-B14F-4D97-AF65-F5344CB8AC3E}">
        <p14:creationId xmlns:p14="http://schemas.microsoft.com/office/powerpoint/2010/main" val="2125809332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 Screensho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60425" y="595314"/>
            <a:ext cx="5853113" cy="4389436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024x768 Screenshot</a:t>
            </a:r>
          </a:p>
        </p:txBody>
      </p:sp>
    </p:spTree>
    <p:extLst>
      <p:ext uri="{BB962C8B-B14F-4D97-AF65-F5344CB8AC3E}">
        <p14:creationId xmlns:p14="http://schemas.microsoft.com/office/powerpoint/2010/main" val="2524676753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 Screenshot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45125" y="595314"/>
            <a:ext cx="5853113" cy="4389436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024x768 Screenshot</a:t>
            </a:r>
          </a:p>
        </p:txBody>
      </p:sp>
    </p:spTree>
    <p:extLst>
      <p:ext uri="{BB962C8B-B14F-4D97-AF65-F5344CB8AC3E}">
        <p14:creationId xmlns:p14="http://schemas.microsoft.com/office/powerpoint/2010/main" val="3388074853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 Monitor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B86D3A9D-6A65-AD4B-BDC6-A26CA9D184E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72339" y="535067"/>
            <a:ext cx="7607809" cy="4754880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440x900 Screenshot</a:t>
            </a:r>
          </a:p>
        </p:txBody>
      </p:sp>
    </p:spTree>
    <p:extLst>
      <p:ext uri="{BB962C8B-B14F-4D97-AF65-F5344CB8AC3E}">
        <p14:creationId xmlns:p14="http://schemas.microsoft.com/office/powerpoint/2010/main" val="2545515042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Screenshot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286158" y="535067"/>
            <a:ext cx="7607808" cy="4754880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440x900 Screenshot</a:t>
            </a:r>
          </a:p>
        </p:txBody>
      </p:sp>
    </p:spTree>
    <p:extLst>
      <p:ext uri="{BB962C8B-B14F-4D97-AF65-F5344CB8AC3E}">
        <p14:creationId xmlns:p14="http://schemas.microsoft.com/office/powerpoint/2010/main" val="1797244653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Screensho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>
            <a:extLst>
              <a:ext uri="{FF2B5EF4-FFF2-40B4-BE49-F238E27FC236}">
                <a16:creationId xmlns:a16="http://schemas.microsoft.com/office/drawing/2014/main" id="{00789E1B-A764-5A46-B972-A801DDD49E5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072339" y="535067"/>
            <a:ext cx="7607809" cy="4754880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440x900 Screenshot</a:t>
            </a:r>
          </a:p>
        </p:txBody>
      </p:sp>
    </p:spTree>
    <p:extLst>
      <p:ext uri="{BB962C8B-B14F-4D97-AF65-F5344CB8AC3E}">
        <p14:creationId xmlns:p14="http://schemas.microsoft.com/office/powerpoint/2010/main" val="3883030617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8362550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nitor Screensho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DCA10D35-5312-4C46-BAC1-6994B5FE753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90940" y="535067"/>
            <a:ext cx="7607809" cy="4754880"/>
          </a:xfrm>
          <a:solidFill>
            <a:schemeClr val="tx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1440x900 Screenshot</a:t>
            </a:r>
          </a:p>
        </p:txBody>
      </p:sp>
    </p:spTree>
    <p:extLst>
      <p:ext uri="{BB962C8B-B14F-4D97-AF65-F5344CB8AC3E}">
        <p14:creationId xmlns:p14="http://schemas.microsoft.com/office/powerpoint/2010/main" val="343710988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hone X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AAE0FC62-D7AA-FD40-995F-BCC0B5533BF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858688" y="460248"/>
            <a:ext cx="2474624" cy="5358384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5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4100072150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ad Pro 11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AAE0FC62-D7AA-FD40-995F-BCC0B5533BF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32370" y="520781"/>
            <a:ext cx="7555908" cy="527774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5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4241022488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Pad Pro with iPhone X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AAE0FC62-D7AA-FD40-995F-BCC0B5533BF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27717" y="791268"/>
            <a:ext cx="6672225" cy="466049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5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D929BDFB-B607-6948-A5F3-7792D7A98E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21976" y="1766109"/>
            <a:ext cx="1812279" cy="3924187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5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1536129161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Pad Pro with iPhone X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AAE0FC62-D7AA-FD40-995F-BCC0B5533BF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5514" y="596336"/>
            <a:ext cx="3557858" cy="5093626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5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D929BDFB-B607-6948-A5F3-7792D7A98E6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03372" y="2868620"/>
            <a:ext cx="1392140" cy="2995752"/>
          </a:xfrm>
          <a:solidFill>
            <a:schemeClr val="tx2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050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Drag &amp;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2906382594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ED24_1/3 image, 2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C61A82C0-784D-3649-8BCB-B9EE1716F14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3840480" cy="3838410"/>
          </a:xfrm>
          <a:solidFill>
            <a:schemeClr val="accent2">
              <a:lumMod val="40000"/>
              <a:lumOff val="6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Drag &amp; Drop </a:t>
            </a:r>
            <a:br>
              <a:rPr lang="en-US"/>
            </a:br>
            <a:r>
              <a:rPr lang="en-US"/>
              <a:t>Image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85F0EF8-3443-914D-B67C-AA0D5C3247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88536" y="1478340"/>
            <a:ext cx="7499273" cy="4654718"/>
          </a:xfrm>
        </p:spPr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 sz="2000"/>
            </a:lvl1pPr>
            <a:lvl2pPr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defRPr sz="1800"/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 sz="1600"/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 sz="1400"/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 sz="1200"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0F257C3-662F-D346-A730-C155BABA53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88933" y="579167"/>
            <a:ext cx="7483417" cy="668251"/>
          </a:xfrm>
        </p:spPr>
        <p:txBody>
          <a:bodyPr wrap="square" anchor="ctr">
            <a:sp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6873932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ark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>
          <a:xfrm>
            <a:off x="0" y="-57"/>
            <a:ext cx="12191999" cy="6309417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1" b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effectLst>
            <a:outerShdw blurRad="114300" dist="38100" dir="5400000" algn="t" rotWithShape="0">
              <a:schemeClr val="accent4">
                <a:lumMod val="50000"/>
                <a:alpha val="20000"/>
              </a:schemeClr>
            </a:outerShdw>
          </a:effectLst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  <a:latin typeface="+mn-lt"/>
              </a:defRPr>
            </a:lvl1pPr>
            <a:lvl2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  <a:latin typeface="+mn-lt"/>
              </a:defRPr>
            </a:lvl2pPr>
            <a:lvl3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  <a:latin typeface="+mn-lt"/>
              </a:defRPr>
            </a:lvl3pPr>
            <a:lvl4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  <a:latin typeface="+mn-lt"/>
              </a:defRPr>
            </a:lvl4pPr>
            <a:lvl5pPr>
              <a:buClr>
                <a:schemeClr val="accent4">
                  <a:lumMod val="60000"/>
                  <a:lumOff val="40000"/>
                </a:schemeClr>
              </a:buClr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3533606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itle a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9512" y="428899"/>
            <a:ext cx="11432977" cy="457572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943189E-9F80-DD4F-94A8-13664CC8BE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516" y="5401538"/>
            <a:ext cx="11432976" cy="731520"/>
          </a:xfrm>
        </p:spPr>
        <p:txBody>
          <a:bodyPr anchor="ctr">
            <a:noAutofit/>
          </a:bodyPr>
          <a:lstStyle>
            <a:lvl1pPr>
              <a:defRPr sz="36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836715F3-36E2-C04C-B7BD-1F214AC34D9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00780" y="5202251"/>
            <a:ext cx="11411712" cy="274320"/>
          </a:xfrm>
        </p:spPr>
        <p:txBody>
          <a:bodyPr anchor="ctr"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370488" indent="0">
              <a:buNone/>
              <a:defRPr/>
            </a:lvl2pPr>
            <a:lvl3pPr marL="823307" indent="0">
              <a:buNone/>
              <a:defRPr/>
            </a:lvl3pPr>
            <a:lvl4pPr marL="1152631" indent="0">
              <a:buNone/>
              <a:defRPr/>
            </a:lvl4pPr>
            <a:lvl5pPr marL="1481953" indent="0">
              <a:buNone/>
              <a:defRPr/>
            </a:lvl5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36615673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ags" Target="../tags/tag3.xml"/><Relationship Id="rId8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7DCDD7-61B1-C942-8394-31DB1ECE5E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7"/>
            </p:custDataLst>
            <p:extLst>
              <p:ext uri="{D42A27DB-BD31-4B8C-83A1-F6EECF244321}">
                <p14:modId xmlns:p14="http://schemas.microsoft.com/office/powerpoint/2010/main" val="15071257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7772400" imgH="10058400" progId="TCLayout.ActiveDocument.1">
                  <p:embed/>
                </p:oleObj>
              </mc:Choice>
              <mc:Fallback>
                <p:oleObj name="think-cell Slide" r:id="rId79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7DCDD7-61B1-C942-8394-31DB1ECE5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4AB2C3-0BCE-EB4C-8347-BC73B1E745DE}"/>
              </a:ext>
            </a:extLst>
          </p:cNvPr>
          <p:cNvSpPr/>
          <p:nvPr userDrawn="1">
            <p:custDataLst>
              <p:tags r:id="rId7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>
              <a:latin typeface="Arial" panose="020B0604020202020204" pitchFamily="34" charset="0"/>
              <a:ea typeface="Roboto Light" pitchFamily="2" charset="0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3D1672B-F5C2-E744-B28E-72D562E00364}"/>
              </a:ext>
            </a:extLst>
          </p:cNvPr>
          <p:cNvGrpSpPr/>
          <p:nvPr userDrawn="1"/>
        </p:nvGrpSpPr>
        <p:grpSpPr>
          <a:xfrm>
            <a:off x="4" y="6309360"/>
            <a:ext cx="12192000" cy="548640"/>
            <a:chOff x="4" y="6309360"/>
            <a:chExt cx="12192000" cy="54864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4" y="6309360"/>
              <a:ext cx="12192000" cy="54864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4" y="6309360"/>
              <a:ext cx="12192000" cy="4116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981"/>
            </a:p>
          </p:txBody>
        </p:sp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379512" y="341615"/>
            <a:ext cx="11432976" cy="731520"/>
          </a:xfrm>
          <a:prstGeom prst="rect">
            <a:avLst/>
          </a:prstGeom>
        </p:spPr>
        <p:txBody>
          <a:bodyPr vert="horz" lIns="113150" tIns="56574" rIns="113150" bIns="56574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379512" y="1286738"/>
            <a:ext cx="11432977" cy="4846320"/>
          </a:xfrm>
          <a:prstGeom prst="rect">
            <a:avLst/>
          </a:prstGeom>
        </p:spPr>
        <p:txBody>
          <a:bodyPr vert="horz" lIns="113150" tIns="56574" rIns="113150" bIns="56574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00119" y="6489611"/>
            <a:ext cx="2822344" cy="2169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0189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C4149B-1FF6-4966-B531-4F19B286B74B}" type="slidenum">
              <a:rPr lang="en-US" sz="800" b="0" smtClean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pPr marL="0" marR="0" indent="0" algn="l" defTabSz="10189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   •   </a:t>
            </a:r>
            <a:r>
              <a:rPr lang="en-US" sz="800" b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© Aptos, LLC. All rights reserved</a:t>
            </a:r>
            <a:r>
              <a:rPr lang="en-US" sz="800" b="0" baseline="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Roboto" panose="02000000000000000000" pitchFamily="2" charset="0"/>
              </a:rPr>
              <a:t>.  </a:t>
            </a:r>
            <a:r>
              <a:rPr lang="en-US" sz="600" b="0" baseline="0">
                <a:solidFill>
                  <a:schemeClr val="accent4">
                    <a:lumMod val="75000"/>
                  </a:schemeClr>
                </a:solidFill>
                <a:latin typeface="+mn-lt"/>
                <a:ea typeface="Roboto" panose="02000000000000000000" pitchFamily="2" charset="0"/>
              </a:rPr>
              <a:t>v22</a:t>
            </a:r>
            <a:endParaRPr lang="en-US" sz="800" b="0">
              <a:solidFill>
                <a:schemeClr val="accent4">
                  <a:lumMod val="75000"/>
                </a:schemeClr>
              </a:solidFill>
              <a:latin typeface="+mn-lt"/>
              <a:ea typeface="Roboto" panose="020000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73CD107-800E-8B4A-A7B0-8B4F9F667FD9}"/>
              </a:ext>
            </a:extLst>
          </p:cNvPr>
          <p:cNvPicPr>
            <a:picLocks noChangeAspect="1"/>
          </p:cNvPicPr>
          <p:nvPr userDrawn="1"/>
        </p:nvPicPr>
        <p:blipFill>
          <a:blip r:embed="rId81"/>
          <a:stretch>
            <a:fillRect/>
          </a:stretch>
        </p:blipFill>
        <p:spPr>
          <a:xfrm>
            <a:off x="11067783" y="6460413"/>
            <a:ext cx="706120" cy="279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283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4040" r:id="rId2"/>
    <p:sldLayoutId id="2147483700" r:id="rId3"/>
    <p:sldLayoutId id="2147483720" r:id="rId4"/>
    <p:sldLayoutId id="2147483675" r:id="rId5"/>
    <p:sldLayoutId id="2147483701" r:id="rId6"/>
    <p:sldLayoutId id="2147483674" r:id="rId7"/>
    <p:sldLayoutId id="2147483704" r:id="rId8"/>
    <p:sldLayoutId id="2147483726" r:id="rId9"/>
    <p:sldLayoutId id="2147483727" r:id="rId10"/>
    <p:sldLayoutId id="2147483728" r:id="rId11"/>
    <p:sldLayoutId id="2147483729" r:id="rId12"/>
    <p:sldLayoutId id="2147483685" r:id="rId13"/>
    <p:sldLayoutId id="2147483724" r:id="rId14"/>
    <p:sldLayoutId id="2147483678" r:id="rId15"/>
    <p:sldLayoutId id="2147483722" r:id="rId16"/>
    <p:sldLayoutId id="2147483730" r:id="rId17"/>
    <p:sldLayoutId id="2147483731" r:id="rId18"/>
    <p:sldLayoutId id="2147483684" r:id="rId19"/>
    <p:sldLayoutId id="2147483723" r:id="rId20"/>
    <p:sldLayoutId id="2147483679" r:id="rId21"/>
    <p:sldLayoutId id="2147483725" r:id="rId22"/>
    <p:sldLayoutId id="2147483900" r:id="rId23"/>
    <p:sldLayoutId id="2147483899" r:id="rId24"/>
    <p:sldLayoutId id="2147484043" r:id="rId25"/>
    <p:sldLayoutId id="2147483794" r:id="rId26"/>
    <p:sldLayoutId id="2147483795" r:id="rId27"/>
    <p:sldLayoutId id="2147483797" r:id="rId28"/>
    <p:sldLayoutId id="2147483796" r:id="rId29"/>
    <p:sldLayoutId id="2147483798" r:id="rId30"/>
    <p:sldLayoutId id="2147483799" r:id="rId31"/>
    <p:sldLayoutId id="2147483800" r:id="rId32"/>
    <p:sldLayoutId id="2147483801" r:id="rId33"/>
    <p:sldLayoutId id="2147483802" r:id="rId34"/>
    <p:sldLayoutId id="2147483803" r:id="rId35"/>
    <p:sldLayoutId id="2147483756" r:id="rId36"/>
    <p:sldLayoutId id="2147483754" r:id="rId37"/>
    <p:sldLayoutId id="2147483809" r:id="rId38"/>
    <p:sldLayoutId id="2147484041" r:id="rId39"/>
    <p:sldLayoutId id="2147483768" r:id="rId40"/>
    <p:sldLayoutId id="2147483810" r:id="rId41"/>
    <p:sldLayoutId id="2147483812" r:id="rId42"/>
    <p:sldLayoutId id="2147484042" r:id="rId43"/>
    <p:sldLayoutId id="2147483769" r:id="rId44"/>
    <p:sldLayoutId id="2147483783" r:id="rId45"/>
    <p:sldLayoutId id="2147483792" r:id="rId46"/>
    <p:sldLayoutId id="2147483793" r:id="rId47"/>
    <p:sldLayoutId id="2147483828" r:id="rId48"/>
    <p:sldLayoutId id="2147483835" r:id="rId49"/>
    <p:sldLayoutId id="2147483831" r:id="rId50"/>
    <p:sldLayoutId id="2147483832" r:id="rId51"/>
    <p:sldLayoutId id="2147483695" r:id="rId52"/>
    <p:sldLayoutId id="2147483699" r:id="rId53"/>
    <p:sldLayoutId id="2147483696" r:id="rId54"/>
    <p:sldLayoutId id="2147483774" r:id="rId55"/>
    <p:sldLayoutId id="2147483775" r:id="rId56"/>
    <p:sldLayoutId id="2147483777" r:id="rId57"/>
    <p:sldLayoutId id="2147483778" r:id="rId58"/>
    <p:sldLayoutId id="2147483779" r:id="rId59"/>
    <p:sldLayoutId id="2147483776" r:id="rId60"/>
    <p:sldLayoutId id="2147483788" r:id="rId61"/>
    <p:sldLayoutId id="2147483822" r:id="rId62"/>
    <p:sldLayoutId id="2147483823" r:id="rId63"/>
    <p:sldLayoutId id="2147483820" r:id="rId64"/>
    <p:sldLayoutId id="2147483789" r:id="rId65"/>
    <p:sldLayoutId id="2147483821" r:id="rId66"/>
    <p:sldLayoutId id="2147483787" r:id="rId67"/>
    <p:sldLayoutId id="2147483784" r:id="rId68"/>
    <p:sldLayoutId id="2147483785" r:id="rId69"/>
    <p:sldLayoutId id="2147483786" r:id="rId70"/>
    <p:sldLayoutId id="2147483824" r:id="rId71"/>
    <p:sldLayoutId id="2147483825" r:id="rId72"/>
    <p:sldLayoutId id="2147483827" r:id="rId73"/>
    <p:sldLayoutId id="2147483826" r:id="rId74"/>
    <p:sldLayoutId id="2147484044" r:id="rId75"/>
  </p:sldLayoutIdLst>
  <p:transition spd="med">
    <p:fade/>
  </p:transition>
  <p:hf sldNum="0" hdr="0" ftr="0"/>
  <p:txStyles>
    <p:titleStyle>
      <a:lvl1pPr algn="l" defTabSz="1018779" rtl="0" eaLnBrk="1" latinLnBrk="0" hangingPunct="1">
        <a:spcBef>
          <a:spcPct val="0"/>
        </a:spcBef>
        <a:buNone/>
        <a:defRPr sz="3600" b="1" kern="1200" spc="-60" baseline="0">
          <a:solidFill>
            <a:schemeClr val="accent4"/>
          </a:solidFill>
          <a:latin typeface="+mj-lt"/>
          <a:ea typeface="Roboto Light" panose="02000000000000000000" pitchFamily="2" charset="0"/>
          <a:cs typeface="+mj-cs"/>
        </a:defRPr>
      </a:lvl1pPr>
    </p:titleStyle>
    <p:bodyStyle>
      <a:lvl1pPr marL="228600" indent="-228600" algn="l" defTabSz="1018779" rtl="0" eaLnBrk="1" latinLnBrk="0" hangingPunct="1">
        <a:spcBef>
          <a:spcPts val="900"/>
        </a:spcBef>
        <a:buClr>
          <a:schemeClr val="accent4">
            <a:lumMod val="60000"/>
            <a:lumOff val="40000"/>
          </a:schemeClr>
        </a:buClr>
        <a:buSzPct val="100000"/>
        <a:buFont typeface="Arial" panose="020B0604020202020204" pitchFamily="34" charset="0"/>
        <a:buChar char="•"/>
        <a:defRPr sz="2400" kern="1200" spc="-27" baseline="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1pPr>
      <a:lvl2pPr marL="457200" indent="-228600" algn="l" defTabSz="1018779" rtl="0" eaLnBrk="1" latinLnBrk="0" hangingPunct="1">
        <a:spcBef>
          <a:spcPts val="6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2000" kern="1200" spc="-27" baseline="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2pPr>
      <a:lvl3pPr marL="685800" indent="-182880" algn="l" defTabSz="1018779" rtl="0" eaLnBrk="1" latinLnBrk="0" hangingPunct="1">
        <a:spcBef>
          <a:spcPts val="4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800" kern="1200" spc="-27" baseline="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3pPr>
      <a:lvl4pPr marL="914400" indent="-155448" algn="l" defTabSz="1018779" rtl="0" eaLnBrk="1" latinLnBrk="0" hangingPunct="1">
        <a:spcBef>
          <a:spcPts val="3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600" kern="1200" spc="-27" baseline="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4pPr>
      <a:lvl5pPr marL="1188720" indent="-137160" algn="l" defTabSz="1018779" rtl="0" eaLnBrk="1" latinLnBrk="0" hangingPunct="1">
        <a:spcBef>
          <a:spcPts val="200"/>
        </a:spcBef>
        <a:buClr>
          <a:schemeClr val="accent4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 spc="-27" baseline="0">
          <a:solidFill>
            <a:schemeClr val="tx1"/>
          </a:solidFill>
          <a:latin typeface="+mn-lt"/>
          <a:ea typeface="Roboto" panose="02000000000000000000" pitchFamily="2" charset="0"/>
          <a:cs typeface="+mn-cs"/>
        </a:defRPr>
      </a:lvl5pPr>
      <a:lvl6pPr marL="2801644" indent="-254694" algn="l" defTabSz="10187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251" kern="1200">
          <a:solidFill>
            <a:schemeClr val="tx1"/>
          </a:solidFill>
          <a:latin typeface="+mn-lt"/>
          <a:ea typeface="+mn-ea"/>
          <a:cs typeface="+mn-cs"/>
        </a:defRPr>
      </a:lvl6pPr>
      <a:lvl7pPr marL="3311034" indent="-254694" algn="l" defTabSz="10187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251" kern="1200">
          <a:solidFill>
            <a:schemeClr val="tx1"/>
          </a:solidFill>
          <a:latin typeface="+mn-lt"/>
          <a:ea typeface="+mn-ea"/>
          <a:cs typeface="+mn-cs"/>
        </a:defRPr>
      </a:lvl7pPr>
      <a:lvl8pPr marL="3820423" indent="-254694" algn="l" defTabSz="10187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251" kern="1200">
          <a:solidFill>
            <a:schemeClr val="tx1"/>
          </a:solidFill>
          <a:latin typeface="+mn-lt"/>
          <a:ea typeface="+mn-ea"/>
          <a:cs typeface="+mn-cs"/>
        </a:defRPr>
      </a:lvl8pPr>
      <a:lvl9pPr marL="4329813" indent="-254694" algn="l" defTabSz="1018779" rtl="0" eaLnBrk="1" latinLnBrk="0" hangingPunct="1">
        <a:spcBef>
          <a:spcPct val="20000"/>
        </a:spcBef>
        <a:buFont typeface="Arial" panose="020B0604020202020204" pitchFamily="34" charset="0"/>
        <a:buChar char="•"/>
        <a:defRPr sz="22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1pPr>
      <a:lvl2pPr marL="509390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2pPr>
      <a:lvl3pPr marL="1018779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3pPr>
      <a:lvl4pPr marL="1528170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4pPr>
      <a:lvl5pPr marL="2037560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5pPr>
      <a:lvl6pPr marL="2546950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6pPr>
      <a:lvl7pPr marL="3056339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7pPr>
      <a:lvl8pPr marL="3565728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8pPr>
      <a:lvl9pPr marL="4075118" algn="l" defTabSz="1018779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8472FF-8B13-D192-1A81-575D083D6D6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What Retailers Should Expect from Consumers in 2024 and Beyond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4954F2D-F0CF-1E5B-B6C2-171A072C5FF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Nikki Bai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6D1FC9-22DA-493D-F521-4A24048E17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VP Strategy &amp; Produc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5F1F774-707D-4D38-3E9B-5F3856B6EF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LS Retail </a:t>
            </a:r>
            <a:r>
              <a:rPr lang="en-US" dirty="0" err="1"/>
              <a:t>Connexions</a:t>
            </a:r>
            <a:r>
              <a:rPr lang="en-US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823266241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Actionist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3477875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Being “authentic” or passively contributing is no longer enough – companies must be actively making things better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ransparency expectations are rising – tech should be used to provide “radical” transparency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It’s not enough to “cancel” a company for something a consumer doesn’t like – they have to actively engage with </a:t>
            </a:r>
            <a:br>
              <a:rPr lang="en-US" sz="1400" spc="0"/>
            </a:br>
            <a:r>
              <a:rPr lang="en-US" sz="1400" spc="0"/>
              <a:t>the company to change. Boycotts are not enough.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3046988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Greenwashing is a death knell </a:t>
            </a:r>
            <a:br>
              <a:rPr lang="en-US" sz="1400" spc="0"/>
            </a:br>
            <a:r>
              <a:rPr lang="en-US" sz="1400" spc="0"/>
              <a:t>– and it’s not enough to reduce impact. Investment has to offset past impact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Expectations of seeing all the way into the supply chain – meeting the peopl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Expect much more intense </a:t>
            </a:r>
            <a:br>
              <a:rPr lang="en-US" sz="1400" spc="0"/>
            </a:br>
            <a:r>
              <a:rPr lang="en-US" sz="1400" spc="0"/>
              <a:t>blowbacks for missteps. Expect that simple apologies are not enough and that symbolic gestures will only fan </a:t>
            </a:r>
            <a:br>
              <a:rPr lang="en-US" sz="1400" spc="0"/>
            </a:br>
            <a:r>
              <a:rPr lang="en-US" sz="1400" spc="0"/>
              <a:t>the flam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Actionis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245379" y="4918216"/>
            <a:ext cx="33494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An expectation that the only way to get change is to agitate for it. The next step in cancel culture, an extension of the demand for greater transparency</a:t>
            </a:r>
          </a:p>
        </p:txBody>
      </p:sp>
      <p:pic>
        <p:nvPicPr>
          <p:cNvPr id="5" name="Picture Placeholder 8" descr="A person holding a sign&#10;&#10;Description automatically generated">
            <a:extLst>
              <a:ext uri="{FF2B5EF4-FFF2-40B4-BE49-F238E27FC236}">
                <a16:creationId xmlns:a16="http://schemas.microsoft.com/office/drawing/2014/main" id="{D9341B58-C22C-711F-F9C1-F2E09A01331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77" t="907" r="22445" b="2804"/>
          <a:stretch/>
        </p:blipFill>
        <p:spPr>
          <a:xfrm>
            <a:off x="0" y="0"/>
            <a:ext cx="3840480" cy="3838410"/>
          </a:xfrm>
        </p:spPr>
      </p:pic>
      <p:sp>
        <p:nvSpPr>
          <p:cNvPr id="6" name="&quot;No&quot; Symbol 5">
            <a:extLst>
              <a:ext uri="{FF2B5EF4-FFF2-40B4-BE49-F238E27FC236}">
                <a16:creationId xmlns:a16="http://schemas.microsoft.com/office/drawing/2014/main" id="{2889B366-02D2-ABBA-88C2-43BB4EE085AB}"/>
              </a:ext>
            </a:extLst>
          </p:cNvPr>
          <p:cNvSpPr/>
          <p:nvPr/>
        </p:nvSpPr>
        <p:spPr>
          <a:xfrm>
            <a:off x="4746133" y="1919205"/>
            <a:ext cx="2743200" cy="2743200"/>
          </a:xfrm>
          <a:prstGeom prst="noSmoking">
            <a:avLst>
              <a:gd name="adj" fmla="val 1283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298049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 err="1"/>
              <a:t>Respectavist</a:t>
            </a:r>
            <a:endParaRPr lang="en-US"/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4062651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ransparency has meant that what happens on Wall Street does not stay there – consumers see high prices = high profits and executive bonuse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rust in brands is eroding as companies try to reduce the direct impact of inflation through “shrinkflation” and “</a:t>
            </a:r>
            <a:r>
              <a:rPr lang="en-US" sz="1400" spc="0" err="1"/>
              <a:t>skimpflation</a:t>
            </a:r>
            <a:r>
              <a:rPr lang="en-US" sz="1400" spc="0"/>
              <a:t>”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Viral videos of employees in bad situations / on the receiving end of cuts in labor hours to offset rising wage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Rising theft: ”you steal from me, I steal from you” and “you’re too cheap to staff so why shouldn’t I?” justification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3631763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Greenwashing is a death knell </a:t>
            </a:r>
            <a:br>
              <a:rPr lang="en-US" sz="1400" spc="0"/>
            </a:br>
            <a:r>
              <a:rPr lang="en-US" sz="1400" spc="0"/>
              <a:t>– and it’s not enough to reduce impact. Investment has to offset past impact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Expectations of seeing all the way into the supply chain – meeting the peopl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Expect much more intense </a:t>
            </a:r>
            <a:br>
              <a:rPr lang="en-US" sz="1400" spc="0"/>
            </a:br>
            <a:r>
              <a:rPr lang="en-US" sz="1400" spc="0"/>
              <a:t>blowbacks for missteps. Expect that simple apologies are not enough and that symbolic gestures will only fan </a:t>
            </a:r>
            <a:br>
              <a:rPr lang="en-US" sz="1400" spc="0"/>
            </a:br>
            <a:r>
              <a:rPr lang="en-US" sz="1400" spc="0"/>
              <a:t>the flame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More angry, impatient customers, more brand shifts &amp; abandon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err="1">
                <a:solidFill>
                  <a:schemeClr val="bg1"/>
                </a:solidFill>
              </a:rPr>
              <a:t>Respectavist</a:t>
            </a:r>
            <a:endParaRPr lang="en-US" sz="2000" b="1">
              <a:solidFill>
                <a:schemeClr val="bg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492862" y="4998506"/>
            <a:ext cx="285443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Demand that companies treat consumers and employees with greater respect – “I’m not stupid”</a:t>
            </a:r>
          </a:p>
        </p:txBody>
      </p:sp>
      <p:pic>
        <p:nvPicPr>
          <p:cNvPr id="4" name="Picture 2" descr="We all quit': Burger King staff leaves note to management on store sign :  r/interestingasfuck">
            <a:extLst>
              <a:ext uri="{FF2B5EF4-FFF2-40B4-BE49-F238E27FC236}">
                <a16:creationId xmlns:a16="http://schemas.microsoft.com/office/drawing/2014/main" id="{C88C938E-CC62-C8B2-C955-C0C0AA081A25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18" t="25" r="23127" b="32199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535044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Manifesting Optimism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3200876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Demand for solutions rather than just an emphasis on problems and how bad they are – focus on a hopeful futur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n emphasis on “future proof” and proof of having thought through long-term impact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Not about “living forever” – emphasis on living WELL (but also forever)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ied to wellness, an emphasis on fun, “</a:t>
            </a:r>
            <a:r>
              <a:rPr lang="en-US" sz="1400" spc="0" err="1"/>
              <a:t>kidulting</a:t>
            </a:r>
            <a:r>
              <a:rPr lang="en-US" sz="1400" spc="0"/>
              <a:t>”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3477875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 dirty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Fun can be considered “functional” entertainment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Distraction from bad news has to be balanced with being realistic about </a:t>
            </a:r>
            <a:br>
              <a:rPr lang="en-US" sz="1400" spc="0" dirty="0"/>
            </a:br>
            <a:r>
              <a:rPr lang="en-US" sz="1400" spc="0" dirty="0"/>
              <a:t>bad news – but demonstrating resilience, support, enablement in </a:t>
            </a:r>
            <a:br>
              <a:rPr lang="en-US" sz="1400" spc="0" dirty="0"/>
            </a:br>
            <a:r>
              <a:rPr lang="en-US" sz="1400" spc="0" dirty="0"/>
              <a:t>the face of bad new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Beware falling into nostalgia-only – that can be a basis for fun, but not the only one. And who are you appealing to with this nostalgia? Gen Z’s fascination with the 80’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Manifesting Optimis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415138" y="4918216"/>
            <a:ext cx="300988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Weariness of “</a:t>
            </a:r>
            <a:r>
              <a:rPr lang="en-US" sz="1400" err="1"/>
              <a:t>permacrisis</a:t>
            </a:r>
            <a:r>
              <a:rPr lang="en-US" sz="1400"/>
              <a:t>” is leading consumers to focus more on optimism and how to create positive outcomes</a:t>
            </a:r>
          </a:p>
        </p:txBody>
      </p:sp>
      <p:pic>
        <p:nvPicPr>
          <p:cNvPr id="5" name="Picture Placeholder 21">
            <a:extLst>
              <a:ext uri="{FF2B5EF4-FFF2-40B4-BE49-F238E27FC236}">
                <a16:creationId xmlns:a16="http://schemas.microsoft.com/office/drawing/2014/main" id="{AE148DE2-7569-638F-FA60-83A68672A35D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3" r="16673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163395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Manifesting Optimism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3200876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Demand for solutions rather than just an emphasis on problems and how bad they are – focus on a hopeful futur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n emphasis on “future proof” and proof of having thought through long-term impact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Not about “living forever” – emphasis on living WELL (but also forever)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ied to wellness, an emphasis on fun, “</a:t>
            </a:r>
            <a:r>
              <a:rPr lang="en-US" sz="1400" spc="0" err="1"/>
              <a:t>kidulting</a:t>
            </a:r>
            <a:r>
              <a:rPr lang="en-US" sz="1400" spc="0"/>
              <a:t>”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3477875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 dirty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Fun can be considered “functional” entertainment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Distraction from bad news has to be balanced with being realistic about </a:t>
            </a:r>
            <a:br>
              <a:rPr lang="en-US" sz="1400" spc="0" dirty="0"/>
            </a:br>
            <a:r>
              <a:rPr lang="en-US" sz="1400" spc="0" dirty="0"/>
              <a:t>bad news – but demonstrating resilience, support, enablement in </a:t>
            </a:r>
            <a:br>
              <a:rPr lang="en-US" sz="1400" spc="0" dirty="0"/>
            </a:br>
            <a:r>
              <a:rPr lang="en-US" sz="1400" spc="0" dirty="0"/>
              <a:t>the face of bad new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Beware falling into nostalgia-only – that can be a basis for fun, but not the only one. And who are you appealing to with this nostalgia? Gen Z’s fascination with the 80’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Manifesting Optimism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415138" y="4918216"/>
            <a:ext cx="300988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Weariness of “</a:t>
            </a:r>
            <a:r>
              <a:rPr lang="en-US" sz="1400" dirty="0" err="1"/>
              <a:t>permacrisis</a:t>
            </a:r>
            <a:r>
              <a:rPr lang="en-US" sz="1400" dirty="0"/>
              <a:t>” is leading consumers to focus more on optimism and how to create positive outcomes</a:t>
            </a:r>
          </a:p>
        </p:txBody>
      </p:sp>
      <p:sp>
        <p:nvSpPr>
          <p:cNvPr id="2" name="&quot;No&quot; Symbol 1">
            <a:extLst>
              <a:ext uri="{FF2B5EF4-FFF2-40B4-BE49-F238E27FC236}">
                <a16:creationId xmlns:a16="http://schemas.microsoft.com/office/drawing/2014/main" id="{48DE2ABB-AD8D-7AA6-0320-AD47B0E56BE6}"/>
              </a:ext>
            </a:extLst>
          </p:cNvPr>
          <p:cNvSpPr/>
          <p:nvPr/>
        </p:nvSpPr>
        <p:spPr>
          <a:xfrm>
            <a:off x="6014588" y="1432619"/>
            <a:ext cx="4032107" cy="4032107"/>
          </a:xfrm>
          <a:prstGeom prst="noSmoking">
            <a:avLst>
              <a:gd name="adj" fmla="val 1283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6" name="Picture Placeholder 21">
            <a:extLst>
              <a:ext uri="{FF2B5EF4-FFF2-40B4-BE49-F238E27FC236}">
                <a16:creationId xmlns:a16="http://schemas.microsoft.com/office/drawing/2014/main" id="{53C82D7D-B7CB-7950-E5BA-5086293A3FF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73" r="16673"/>
          <a:stretch/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39039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Embracing the Mess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3416320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he Algorithm rewards formulas, “average’, predictable, boring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Over-engineered, over-curated, “too perfect” scenarios are what get rewarded on social media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n extension of wellness – “finding wellness” means acknowledging when things aren’t perfect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 craving for things that are quirky, strange, breakout from the pack – individualism, unique, novel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4555093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n extension of the changing power balance between consumers and brands – not only do you have to </a:t>
            </a:r>
            <a:br>
              <a:rPr lang="en-US" sz="1400" spc="0"/>
            </a:br>
            <a:r>
              <a:rPr lang="en-US" sz="1400" spc="0"/>
              <a:t>be authentic as a brand, you have </a:t>
            </a:r>
            <a:br>
              <a:rPr lang="en-US" sz="1400" spc="0"/>
            </a:br>
            <a:r>
              <a:rPr lang="en-US" sz="1400" spc="0"/>
              <a:t>to prove it by showing that you’re </a:t>
            </a:r>
            <a:br>
              <a:rPr lang="en-US" sz="1400" spc="0"/>
            </a:br>
            <a:r>
              <a:rPr lang="en-US" sz="1400" spc="0"/>
              <a:t>all human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”Authentic” means more than being true to your brand values – it means being real about the pros and cons of those values, acknowledging unintended consequences, showing behind-the-scenes messines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Beware falling into nostalgia-only – that can be a basis for fun, but not the only one. And who are you appealing to with this nostalgia? Gen Z’s fascination with the 80’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Embracing the Mess</a:t>
            </a:r>
          </a:p>
        </p:txBody>
      </p:sp>
      <p:pic>
        <p:nvPicPr>
          <p:cNvPr id="4" name="Picture 2" descr="messy room 1 | Messy room, Messy room aesthetic, Room inspo">
            <a:extLst>
              <a:ext uri="{FF2B5EF4-FFF2-40B4-BE49-F238E27FC236}">
                <a16:creationId xmlns:a16="http://schemas.microsoft.com/office/drawing/2014/main" id="{C6E7E2D2-8DF7-9C09-D313-AB2A31A9B069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0" t="13505" r="20273" b="10841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30CA8DC-59D9-965F-9B1B-9C7E484C1819}"/>
              </a:ext>
            </a:extLst>
          </p:cNvPr>
          <p:cNvSpPr txBox="1"/>
          <p:nvPr/>
        </p:nvSpPr>
        <p:spPr>
          <a:xfrm>
            <a:off x="415138" y="4918216"/>
            <a:ext cx="300988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Manifesting optimism didn’t work. The first step to recovery is acknowledging where you are today and all of its mess</a:t>
            </a:r>
          </a:p>
        </p:txBody>
      </p:sp>
    </p:spTree>
    <p:extLst>
      <p:ext uri="{BB962C8B-B14F-4D97-AF65-F5344CB8AC3E}">
        <p14:creationId xmlns:p14="http://schemas.microsoft.com/office/powerpoint/2010/main" val="26891177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Decentra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2400657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Continued expansion of virtual goods &amp; impact on brand loyalty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Greater frictionless interoperability – super apps, </a:t>
            </a:r>
            <a:r>
              <a:rPr lang="en-US" sz="1400" spc="0" err="1"/>
              <a:t>passwordless</a:t>
            </a:r>
            <a:r>
              <a:rPr lang="en-US" sz="1400" spc="0"/>
              <a:t> security, composability/no-cod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Expansion of creator economy – new capabilities, new business model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4062651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For luxury and status goods, virtual fashion will continue to be a thing. Unclear how much it will be impacted by crypto crash, though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Watch out for erosion of physical brand loyalty – Future Commerce stat is troubling: 75% of US consumers surveyed said you can love a brand without ever owning anything it make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Making room for consumers as creators – enabling or at least blessing a creator ecosystem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Pay attention to super apps – not in 2023, but coming down the roa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Decentr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559454" y="4918216"/>
            <a:ext cx="27212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Starting to see the results of decentralized technology, and an accrual of benefits to consumer “creators”</a:t>
            </a:r>
          </a:p>
        </p:txBody>
      </p:sp>
      <p:pic>
        <p:nvPicPr>
          <p:cNvPr id="4" name="Picture Placeholder 8" descr="A person holding a camera&#10;&#10;Description automatically generated with low confidence">
            <a:extLst>
              <a:ext uri="{FF2B5EF4-FFF2-40B4-BE49-F238E27FC236}">
                <a16:creationId xmlns:a16="http://schemas.microsoft.com/office/drawing/2014/main" id="{FBBB0006-4431-5339-9B6C-A55AC8D85CF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31" b="27029"/>
          <a:stretch/>
        </p:blipFill>
        <p:spPr>
          <a:xfrm>
            <a:off x="0" y="0"/>
            <a:ext cx="3840480" cy="3838410"/>
          </a:xfrm>
        </p:spPr>
      </p:pic>
    </p:spTree>
    <p:extLst>
      <p:ext uri="{BB962C8B-B14F-4D97-AF65-F5344CB8AC3E}">
        <p14:creationId xmlns:p14="http://schemas.microsoft.com/office/powerpoint/2010/main" val="2655742081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Decentral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2400657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Continued expansion of virtual goods &amp; impact on brand loyalty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Greater frictionless interoperability – super apps, </a:t>
            </a:r>
            <a:r>
              <a:rPr lang="en-US" sz="1400" spc="0" err="1"/>
              <a:t>passwordless</a:t>
            </a:r>
            <a:r>
              <a:rPr lang="en-US" sz="1400" spc="0"/>
              <a:t> security, composability/no-cod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Expansion of creator economy – new capabilities, new business model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4062651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For luxury and status goods, virtual fashion will continue to be a thing. Unclear how much it will be impacted by crypto crash, though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Watch out for erosion of physical brand loyalty – Future Commerce stat is troubling: 75% of US consumers surveyed said you can love a brand without ever owning anything it make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Making room for consumers as creators – enabling or at least blessing a creator ecosystem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Pay attention to super apps – not in 2023, but coming down the road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Decentr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559454" y="4918216"/>
            <a:ext cx="27212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Starting to see the results of decentralized technology, and an accrual of benefits to consumer “creators”</a:t>
            </a:r>
          </a:p>
        </p:txBody>
      </p:sp>
      <p:pic>
        <p:nvPicPr>
          <p:cNvPr id="4" name="Picture Placeholder 8" descr="A person holding a camera&#10;&#10;Description automatically generated with low confidence">
            <a:extLst>
              <a:ext uri="{FF2B5EF4-FFF2-40B4-BE49-F238E27FC236}">
                <a16:creationId xmlns:a16="http://schemas.microsoft.com/office/drawing/2014/main" id="{FBBB0006-4431-5339-9B6C-A55AC8D85CF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31" b="27029"/>
          <a:stretch/>
        </p:blipFill>
        <p:spPr>
          <a:xfrm>
            <a:off x="0" y="0"/>
            <a:ext cx="3840480" cy="3838410"/>
          </a:xfrm>
        </p:spPr>
      </p:pic>
      <p:sp>
        <p:nvSpPr>
          <p:cNvPr id="2" name="&quot;No&quot; Symbol 1">
            <a:extLst>
              <a:ext uri="{FF2B5EF4-FFF2-40B4-BE49-F238E27FC236}">
                <a16:creationId xmlns:a16="http://schemas.microsoft.com/office/drawing/2014/main" id="{83F4F2F9-E228-9649-8DD9-3A56734D6EB0}"/>
              </a:ext>
            </a:extLst>
          </p:cNvPr>
          <p:cNvSpPr/>
          <p:nvPr/>
        </p:nvSpPr>
        <p:spPr>
          <a:xfrm>
            <a:off x="6014588" y="1432619"/>
            <a:ext cx="4032107" cy="4032107"/>
          </a:xfrm>
          <a:prstGeom prst="noSmoking">
            <a:avLst>
              <a:gd name="adj" fmla="val 1283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25924"/>
      </p:ext>
    </p:extLst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Uncategorizabl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2985433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Cost of living has pushed “normal” or “average” life stages off the table for many younger consumer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dditional rejection of “expected” life stages – marriage, mortgage, kids, etc.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ided by the desire for unique experiences – leading to wanting to be treated uniquely</a:t>
            </a:r>
          </a:p>
          <a:p>
            <a:pPr marL="182880" indent="-182880">
              <a:spcBef>
                <a:spcPts val="1200"/>
              </a:spcBef>
            </a:pPr>
            <a:endParaRPr lang="en-US" sz="1400" spc="0"/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3416320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You better have really good, first-party customer data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Dangerous to use life stage, age, </a:t>
            </a:r>
            <a:br>
              <a:rPr lang="en-US" sz="1400" spc="0"/>
            </a:br>
            <a:r>
              <a:rPr lang="en-US" sz="1400" spc="0"/>
              <a:t>or education cohorts as a basis </a:t>
            </a:r>
            <a:br>
              <a:rPr lang="en-US" sz="1400" spc="0"/>
            </a:br>
            <a:r>
              <a:rPr lang="en-US" sz="1400" spc="0"/>
              <a:t>for segmentation – more dangerous than ever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Personal vs. relevant – still better </a:t>
            </a:r>
            <a:br>
              <a:rPr lang="en-US" sz="1400" spc="0"/>
            </a:br>
            <a:r>
              <a:rPr lang="en-US" sz="1400" spc="0"/>
              <a:t>to be relevant vs. personalized, but harder to do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Segmentation based on behavior only – makes consumers harder to find too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Uncategorizab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559454" y="4918216"/>
            <a:ext cx="272125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1:1 means more than unique offers – it means using anything other than demographics or life stages to group customers</a:t>
            </a:r>
          </a:p>
        </p:txBody>
      </p:sp>
      <p:pic>
        <p:nvPicPr>
          <p:cNvPr id="10" name="Picture Placeholder 9" descr="A red fish leading a group of fish&#10;&#10;Description automatically generated">
            <a:extLst>
              <a:ext uri="{FF2B5EF4-FFF2-40B4-BE49-F238E27FC236}">
                <a16:creationId xmlns:a16="http://schemas.microsoft.com/office/drawing/2014/main" id="{8FE704D2-1789-64FB-C0B0-494235596EF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60" t="15123" r="1572" b="14006"/>
          <a:stretch/>
        </p:blipFill>
        <p:spPr>
          <a:xfrm>
            <a:off x="0" y="0"/>
            <a:ext cx="3840480" cy="3838410"/>
          </a:xfrm>
        </p:spPr>
      </p:pic>
    </p:spTree>
    <p:extLst>
      <p:ext uri="{BB962C8B-B14F-4D97-AF65-F5344CB8AC3E}">
        <p14:creationId xmlns:p14="http://schemas.microsoft.com/office/powerpoint/2010/main" val="51424537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974B9E-1628-41D7-FA34-3E764150CB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77BDD-5C24-B82E-F124-03DE7E9D8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/>
              <a:t>Four Key Consumer Behavior Questions in 2024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792722-A64A-F5A4-3E9C-C8B3ADCBACDE}"/>
              </a:ext>
            </a:extLst>
          </p:cNvPr>
          <p:cNvSpPr/>
          <p:nvPr/>
        </p:nvSpPr>
        <p:spPr>
          <a:xfrm>
            <a:off x="379512" y="1286738"/>
            <a:ext cx="2743200" cy="2560320"/>
          </a:xfrm>
          <a:prstGeom prst="rect">
            <a:avLst/>
          </a:prstGeom>
          <a:solidFill>
            <a:srgbClr val="081E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182880" rIns="274320" bIns="182880" rtlCol="0" anchor="ctr"/>
          <a:lstStyle/>
          <a:p>
            <a:r>
              <a:rPr lang="en-US" sz="1800" b="1">
                <a:solidFill>
                  <a:schemeClr val="accent5"/>
                </a:solidFill>
              </a:rPr>
              <a:t>Will consumers embrace </a:t>
            </a:r>
            <a:r>
              <a:rPr lang="en-US" sz="1800" b="1" err="1">
                <a:solidFill>
                  <a:schemeClr val="accent5"/>
                </a:solidFill>
              </a:rPr>
              <a:t>GenAI</a:t>
            </a:r>
            <a:r>
              <a:rPr lang="en-US" sz="1800" b="1">
                <a:solidFill>
                  <a:schemeClr val="accent5"/>
                </a:solidFill>
              </a:rPr>
              <a:t> or will they reject it in favor of “genuine” human expression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5EDDD96-5263-95F0-7940-3DF501314595}"/>
              </a:ext>
            </a:extLst>
          </p:cNvPr>
          <p:cNvSpPr/>
          <p:nvPr/>
        </p:nvSpPr>
        <p:spPr>
          <a:xfrm>
            <a:off x="379512" y="3836425"/>
            <a:ext cx="2743200" cy="2103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rIns="182880" bIns="182880" rtlCol="0" anchor="ctr"/>
          <a:lstStyle/>
          <a:p>
            <a:pPr marL="182880" indent="-18288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300" spc="0">
                <a:solidFill>
                  <a:schemeClr val="tx1"/>
                </a:solidFill>
              </a:rPr>
              <a:t>Will </a:t>
            </a:r>
            <a:r>
              <a:rPr lang="en-US" sz="1300" spc="0" err="1">
                <a:solidFill>
                  <a:schemeClr val="tx1"/>
                </a:solidFill>
              </a:rPr>
              <a:t>GenAI</a:t>
            </a:r>
            <a:r>
              <a:rPr lang="en-US" sz="1300" spc="0">
                <a:solidFill>
                  <a:schemeClr val="tx1"/>
                </a:solidFill>
              </a:rPr>
              <a:t> unlock human creativity or unleash a torrent of low-grade content that drowns out the rest?</a:t>
            </a:r>
          </a:p>
          <a:p>
            <a:pPr marL="182880" indent="-182880">
              <a:spcBef>
                <a:spcPts val="600"/>
              </a:spcBef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en-US" sz="1300" spc="0">
                <a:solidFill>
                  <a:schemeClr val="tx1"/>
                </a:solidFill>
              </a:rPr>
              <a:t>“Unapologetic self-expression” as a way to demonstrate authenticity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6D582E9-349A-4E13-268B-406C0BF60FD0}"/>
              </a:ext>
            </a:extLst>
          </p:cNvPr>
          <p:cNvGrpSpPr/>
          <p:nvPr/>
        </p:nvGrpSpPr>
        <p:grpSpPr>
          <a:xfrm>
            <a:off x="3264100" y="1286738"/>
            <a:ext cx="2743200" cy="4652807"/>
            <a:chOff x="3264100" y="1286738"/>
            <a:chExt cx="2743200" cy="4652807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EA9247F9-1F7E-46A6-1971-0439581E1D10}"/>
                </a:ext>
              </a:extLst>
            </p:cNvPr>
            <p:cNvSpPr/>
            <p:nvPr/>
          </p:nvSpPr>
          <p:spPr>
            <a:xfrm>
              <a:off x="3264100" y="1286738"/>
              <a:ext cx="2743200" cy="2560320"/>
            </a:xfrm>
            <a:prstGeom prst="rect">
              <a:avLst/>
            </a:prstGeom>
            <a:solidFill>
              <a:srgbClr val="081E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tIns="182880" rIns="274320" bIns="182880" rtlCol="0" anchor="ctr"/>
            <a:lstStyle/>
            <a:p>
              <a:pPr marL="0" indent="0">
                <a:buNone/>
              </a:pPr>
              <a:r>
                <a:rPr lang="en-US" sz="1800" b="1">
                  <a:solidFill>
                    <a:schemeClr val="accent6"/>
                  </a:solidFill>
                </a:rPr>
                <a:t>Will consumers let companies step back from cause-related marketing or demand more?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FB5CD16-9C77-A6EB-4573-F3159BFF75CE}"/>
                </a:ext>
              </a:extLst>
            </p:cNvPr>
            <p:cNvSpPr/>
            <p:nvPr/>
          </p:nvSpPr>
          <p:spPr>
            <a:xfrm>
              <a:off x="3264100" y="3836425"/>
              <a:ext cx="2743200" cy="2103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tIns="182880" rIns="274320" bIns="182880" rtlCol="0" anchor="ctr"/>
            <a:lstStyle/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>
                  <a:solidFill>
                    <a:schemeClr val="tx1"/>
                  </a:solidFill>
                </a:rPr>
                <a:t>“Thanks, Bud Light.”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>
                  <a:solidFill>
                    <a:schemeClr val="tx1"/>
                  </a:solidFill>
                </a:rPr>
                <a:t>Bud-Light-The-Sequel in 2024?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65F11B1-D1D3-605F-FC0D-6D4CCCE9AE2F}"/>
              </a:ext>
            </a:extLst>
          </p:cNvPr>
          <p:cNvGrpSpPr/>
          <p:nvPr/>
        </p:nvGrpSpPr>
        <p:grpSpPr>
          <a:xfrm>
            <a:off x="6166693" y="1286738"/>
            <a:ext cx="2743200" cy="4652807"/>
            <a:chOff x="6166693" y="1286738"/>
            <a:chExt cx="2743200" cy="4652807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CF77D4B-28D5-EA74-95E1-DA583C25C882}"/>
                </a:ext>
              </a:extLst>
            </p:cNvPr>
            <p:cNvSpPr/>
            <p:nvPr/>
          </p:nvSpPr>
          <p:spPr>
            <a:xfrm>
              <a:off x="6166693" y="1286738"/>
              <a:ext cx="2743200" cy="2560320"/>
            </a:xfrm>
            <a:prstGeom prst="rect">
              <a:avLst/>
            </a:prstGeom>
            <a:solidFill>
              <a:srgbClr val="081E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tIns="182880" rIns="274320" bIns="182880" rtlCol="0" anchor="ctr"/>
            <a:lstStyle/>
            <a:p>
              <a:pPr marL="0" indent="0">
                <a:buNone/>
              </a:pPr>
              <a:r>
                <a:rPr lang="en-US" sz="1800" b="1" dirty="0">
                  <a:solidFill>
                    <a:schemeClr val="accent2"/>
                  </a:solidFill>
                </a:rPr>
                <a:t>Will consumers renew their trust </a:t>
              </a:r>
              <a:br>
                <a:rPr lang="en-US" sz="1800" b="1" dirty="0">
                  <a:solidFill>
                    <a:schemeClr val="accent2"/>
                  </a:solidFill>
                </a:rPr>
              </a:br>
              <a:r>
                <a:rPr lang="en-US" sz="1800" b="1" dirty="0">
                  <a:solidFill>
                    <a:schemeClr val="accent2"/>
                  </a:solidFill>
                </a:rPr>
                <a:t>in companies and brands or will anti-corporatism and anti-consumerism take hold?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D98B420-5725-C3A1-3DD7-E4ED660F2987}"/>
                </a:ext>
              </a:extLst>
            </p:cNvPr>
            <p:cNvSpPr/>
            <p:nvPr/>
          </p:nvSpPr>
          <p:spPr>
            <a:xfrm>
              <a:off x="6166693" y="3836425"/>
              <a:ext cx="2743200" cy="2103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tIns="182880" rIns="274320" bIns="182880" rtlCol="0" anchor="ctr"/>
            <a:lstStyle/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>
                  <a:solidFill>
                    <a:schemeClr val="tx1"/>
                  </a:solidFill>
                </a:rPr>
                <a:t>Shrinkflation and </a:t>
              </a:r>
              <a:r>
                <a:rPr lang="en-US" sz="1300" spc="0" err="1">
                  <a:solidFill>
                    <a:schemeClr val="tx1"/>
                  </a:solidFill>
                </a:rPr>
                <a:t>Skimpflation</a:t>
              </a:r>
              <a:r>
                <a:rPr lang="en-US" sz="1300" spc="0">
                  <a:solidFill>
                    <a:schemeClr val="tx1"/>
                  </a:solidFill>
                </a:rPr>
                <a:t> destroy </a:t>
              </a:r>
              <a:br>
                <a:rPr lang="en-US" sz="1300" spc="0">
                  <a:solidFill>
                    <a:schemeClr val="tx1"/>
                  </a:solidFill>
                </a:rPr>
              </a:br>
              <a:r>
                <a:rPr lang="en-US" sz="1300" spc="0">
                  <a:solidFill>
                    <a:schemeClr val="tx1"/>
                  </a:solidFill>
                </a:rPr>
                <a:t>brand trust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D7554EF-02BF-5810-FDD4-CEBAEE904C9D}"/>
              </a:ext>
            </a:extLst>
          </p:cNvPr>
          <p:cNvGrpSpPr/>
          <p:nvPr/>
        </p:nvGrpSpPr>
        <p:grpSpPr>
          <a:xfrm>
            <a:off x="9069287" y="1286738"/>
            <a:ext cx="2743200" cy="4652807"/>
            <a:chOff x="9069287" y="1286738"/>
            <a:chExt cx="2743200" cy="4652807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AFE04D8-CC4F-66A0-2B51-B2956F8FB8A9}"/>
                </a:ext>
              </a:extLst>
            </p:cNvPr>
            <p:cNvSpPr/>
            <p:nvPr/>
          </p:nvSpPr>
          <p:spPr>
            <a:xfrm>
              <a:off x="9069287" y="1286738"/>
              <a:ext cx="2743200" cy="2560320"/>
            </a:xfrm>
            <a:prstGeom prst="rect">
              <a:avLst/>
            </a:prstGeom>
            <a:solidFill>
              <a:srgbClr val="081E5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tIns="182880" rIns="274320" bIns="182880" rtlCol="0" anchor="ctr"/>
            <a:lstStyle/>
            <a:p>
              <a:pPr marL="0" indent="0">
                <a:buNone/>
              </a:pPr>
              <a:r>
                <a:rPr lang="en-US" sz="1800" b="1" dirty="0">
                  <a:solidFill>
                    <a:schemeClr val="accent1"/>
                  </a:solidFill>
                </a:rPr>
                <a:t>Will consumers continue to spend or pull back?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C978D61-C0CE-1715-8564-B18F80D43123}"/>
                </a:ext>
              </a:extLst>
            </p:cNvPr>
            <p:cNvSpPr/>
            <p:nvPr/>
          </p:nvSpPr>
          <p:spPr>
            <a:xfrm>
              <a:off x="9069287" y="3836425"/>
              <a:ext cx="2743200" cy="2103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0" tIns="182880" rIns="274320" bIns="182880" rtlCol="0" anchor="ctr"/>
            <a:lstStyle/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Wallet detox?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“Doom-spending”?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“</a:t>
              </a:r>
              <a:r>
                <a:rPr lang="en-US" sz="1300" spc="0" dirty="0" err="1">
                  <a:solidFill>
                    <a:schemeClr val="tx1"/>
                  </a:solidFill>
                </a:rPr>
                <a:t>Microdosing</a:t>
              </a:r>
              <a:r>
                <a:rPr lang="en-US" sz="1300" spc="0" dirty="0">
                  <a:solidFill>
                    <a:schemeClr val="tx1"/>
                  </a:solidFill>
                </a:rPr>
                <a:t> gratification”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Travel’s return won’t </a:t>
              </a:r>
              <a:br>
                <a:rPr lang="en-US" sz="1300" spc="0" dirty="0">
                  <a:solidFill>
                    <a:schemeClr val="tx1"/>
                  </a:solidFill>
                </a:rPr>
              </a:br>
              <a:r>
                <a:rPr lang="en-US" sz="1300" spc="0" dirty="0">
                  <a:solidFill>
                    <a:schemeClr val="tx1"/>
                  </a:solidFill>
                </a:rPr>
                <a:t>save retai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84379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974B9E-1628-41D7-FA34-3E764150CB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77BDD-5C24-B82E-F124-03DE7E9D8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Retailer Prioriti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0D279AD-9C7E-E101-FA6B-AA0877FA4442}"/>
              </a:ext>
            </a:extLst>
          </p:cNvPr>
          <p:cNvGrpSpPr/>
          <p:nvPr/>
        </p:nvGrpSpPr>
        <p:grpSpPr>
          <a:xfrm>
            <a:off x="379512" y="1286737"/>
            <a:ext cx="2743200" cy="4663441"/>
            <a:chOff x="379512" y="1286737"/>
            <a:chExt cx="2743200" cy="4663441"/>
          </a:xfrm>
        </p:grpSpPr>
        <p:sp>
          <p:nvSpPr>
            <p:cNvPr id="12" name="Round Same Side Corner Rectangle 11">
              <a:extLst>
                <a:ext uri="{FF2B5EF4-FFF2-40B4-BE49-F238E27FC236}">
                  <a16:creationId xmlns:a16="http://schemas.microsoft.com/office/drawing/2014/main" id="{59DC0481-CD6C-31D9-09A1-C0EFF182E014}"/>
                </a:ext>
              </a:extLst>
            </p:cNvPr>
            <p:cNvSpPr/>
            <p:nvPr/>
          </p:nvSpPr>
          <p:spPr>
            <a:xfrm>
              <a:off x="379512" y="1286737"/>
              <a:ext cx="2743200" cy="914400"/>
            </a:xfrm>
            <a:prstGeom prst="round2SameRect">
              <a:avLst>
                <a:gd name="adj1" fmla="val 9690"/>
                <a:gd name="adj2" fmla="val 0"/>
              </a:avLst>
            </a:prstGeom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Inventory</a:t>
              </a:r>
              <a:br>
                <a:rPr lang="en-US" sz="1600" b="1">
                  <a:solidFill>
                    <a:schemeClr val="bg1"/>
                  </a:solidFill>
                </a:rPr>
              </a:br>
              <a:r>
                <a:rPr lang="en-US" sz="1600" b="1">
                  <a:solidFill>
                    <a:schemeClr val="bg1"/>
                  </a:solidFill>
                </a:rPr>
                <a:t>Performance</a:t>
              </a:r>
            </a:p>
          </p:txBody>
        </p:sp>
        <p:sp>
          <p:nvSpPr>
            <p:cNvPr id="13" name="Round Same Side Corner Rectangle 12">
              <a:extLst>
                <a:ext uri="{FF2B5EF4-FFF2-40B4-BE49-F238E27FC236}">
                  <a16:creationId xmlns:a16="http://schemas.microsoft.com/office/drawing/2014/main" id="{CD2D9354-8EB9-A8F6-1951-5C574175FA8F}"/>
                </a:ext>
              </a:extLst>
            </p:cNvPr>
            <p:cNvSpPr/>
            <p:nvPr/>
          </p:nvSpPr>
          <p:spPr>
            <a:xfrm>
              <a:off x="379512" y="2201137"/>
              <a:ext cx="2743200" cy="3749041"/>
            </a:xfrm>
            <a:prstGeom prst="round2SameRect">
              <a:avLst>
                <a:gd name="adj1" fmla="val 0"/>
                <a:gd name="adj2" fmla="val 3488"/>
              </a:avLst>
            </a:prstGeom>
            <a:no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182880" rtlCol="0" anchor="ctr"/>
            <a:lstStyle/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Maintaining price perception during “disinflation”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A focus on unit growth in the face of falling prices (including promotions)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Omnichannel with stores as nodes – not a supply chain thing, an inventory performance thing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RFID (fashion)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Alternative retail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Supply chain sustainability as ROI driver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Returns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2172709-4375-EB67-9826-93D347856035}"/>
              </a:ext>
            </a:extLst>
          </p:cNvPr>
          <p:cNvGrpSpPr/>
          <p:nvPr/>
        </p:nvGrpSpPr>
        <p:grpSpPr>
          <a:xfrm>
            <a:off x="3276104" y="1286737"/>
            <a:ext cx="2743200" cy="4663441"/>
            <a:chOff x="379512" y="1286737"/>
            <a:chExt cx="2743200" cy="4663441"/>
          </a:xfrm>
        </p:grpSpPr>
        <p:sp>
          <p:nvSpPr>
            <p:cNvPr id="17" name="Round Same Side Corner Rectangle 16">
              <a:extLst>
                <a:ext uri="{FF2B5EF4-FFF2-40B4-BE49-F238E27FC236}">
                  <a16:creationId xmlns:a16="http://schemas.microsoft.com/office/drawing/2014/main" id="{C8A4DADD-A24B-B947-A3E6-9DB66B0A8126}"/>
                </a:ext>
              </a:extLst>
            </p:cNvPr>
            <p:cNvSpPr/>
            <p:nvPr/>
          </p:nvSpPr>
          <p:spPr>
            <a:xfrm>
              <a:off x="379512" y="1286737"/>
              <a:ext cx="2743200" cy="914400"/>
            </a:xfrm>
            <a:prstGeom prst="round2SameRect">
              <a:avLst>
                <a:gd name="adj1" fmla="val 9690"/>
                <a:gd name="adj2" fmla="val 0"/>
              </a:avLst>
            </a:prstGeom>
            <a:solidFill>
              <a:schemeClr val="accent2"/>
            </a:solidFill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Business Model</a:t>
              </a:r>
              <a:br>
                <a:rPr lang="en-US" sz="1600" b="1">
                  <a:solidFill>
                    <a:schemeClr val="bg1"/>
                  </a:solidFill>
                </a:rPr>
              </a:br>
              <a:r>
                <a:rPr lang="en-US" sz="1600" b="1">
                  <a:solidFill>
                    <a:schemeClr val="bg1"/>
                  </a:solidFill>
                </a:rPr>
                <a:t>Leverage</a:t>
              </a:r>
            </a:p>
          </p:txBody>
        </p:sp>
        <p:sp>
          <p:nvSpPr>
            <p:cNvPr id="18" name="Round Same Side Corner Rectangle 17">
              <a:extLst>
                <a:ext uri="{FF2B5EF4-FFF2-40B4-BE49-F238E27FC236}">
                  <a16:creationId xmlns:a16="http://schemas.microsoft.com/office/drawing/2014/main" id="{9F2FD429-AEBD-3A44-4CA3-51240806B085}"/>
                </a:ext>
              </a:extLst>
            </p:cNvPr>
            <p:cNvSpPr/>
            <p:nvPr/>
          </p:nvSpPr>
          <p:spPr>
            <a:xfrm>
              <a:off x="379512" y="2201137"/>
              <a:ext cx="2743200" cy="3749041"/>
            </a:xfrm>
            <a:prstGeom prst="round2SameRect">
              <a:avLst>
                <a:gd name="adj1" fmla="val 0"/>
                <a:gd name="adj2" fmla="val 3488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182880" rtlCol="0" anchor="ctr"/>
            <a:lstStyle/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Is the traditional, stand-alone retail business model dead?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RMN’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Tech service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Data service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Referrals on third party marketplace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Paid loyalty program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Adjacent services 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Logistics services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27EA883-2AA8-E51B-C31E-8DE67DB7045B}"/>
              </a:ext>
            </a:extLst>
          </p:cNvPr>
          <p:cNvGrpSpPr/>
          <p:nvPr/>
        </p:nvGrpSpPr>
        <p:grpSpPr>
          <a:xfrm>
            <a:off x="6172696" y="1286737"/>
            <a:ext cx="2743200" cy="4663441"/>
            <a:chOff x="379512" y="1286737"/>
            <a:chExt cx="2743200" cy="4663441"/>
          </a:xfrm>
        </p:grpSpPr>
        <p:sp>
          <p:nvSpPr>
            <p:cNvPr id="20" name="Round Same Side Corner Rectangle 19">
              <a:extLst>
                <a:ext uri="{FF2B5EF4-FFF2-40B4-BE49-F238E27FC236}">
                  <a16:creationId xmlns:a16="http://schemas.microsoft.com/office/drawing/2014/main" id="{830E7EFE-135D-E414-AC2C-3712449BEBE4}"/>
                </a:ext>
              </a:extLst>
            </p:cNvPr>
            <p:cNvSpPr/>
            <p:nvPr/>
          </p:nvSpPr>
          <p:spPr>
            <a:xfrm>
              <a:off x="379512" y="1286737"/>
              <a:ext cx="2743200" cy="914400"/>
            </a:xfrm>
            <a:prstGeom prst="round2SameRect">
              <a:avLst>
                <a:gd name="adj1" fmla="val 9690"/>
                <a:gd name="adj2" fmla="val 0"/>
              </a:avLst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Store Format</a:t>
              </a:r>
              <a:br>
                <a:rPr lang="en-US" sz="1600" b="1">
                  <a:solidFill>
                    <a:schemeClr val="bg1"/>
                  </a:solidFill>
                </a:rPr>
              </a:br>
              <a:r>
                <a:rPr lang="en-US" sz="1600" b="1">
                  <a:solidFill>
                    <a:schemeClr val="bg1"/>
                  </a:solidFill>
                </a:rPr>
                <a:t>Evolution</a:t>
              </a:r>
            </a:p>
          </p:txBody>
        </p:sp>
        <p:sp>
          <p:nvSpPr>
            <p:cNvPr id="21" name="Round Same Side Corner Rectangle 20">
              <a:extLst>
                <a:ext uri="{FF2B5EF4-FFF2-40B4-BE49-F238E27FC236}">
                  <a16:creationId xmlns:a16="http://schemas.microsoft.com/office/drawing/2014/main" id="{4697FD04-F97A-E7C9-7E7B-D24E170679FA}"/>
                </a:ext>
              </a:extLst>
            </p:cNvPr>
            <p:cNvSpPr/>
            <p:nvPr/>
          </p:nvSpPr>
          <p:spPr>
            <a:xfrm>
              <a:off x="379512" y="2201137"/>
              <a:ext cx="2743200" cy="3749041"/>
            </a:xfrm>
            <a:prstGeom prst="round2SameRect">
              <a:avLst>
                <a:gd name="adj1" fmla="val 0"/>
                <a:gd name="adj2" fmla="val 3488"/>
              </a:avLst>
            </a:prstGeom>
            <a:noFill/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182880" rtlCol="0" anchor="ctr"/>
            <a:lstStyle/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Store’s role in customer acquisition in the face of flattening eCom growth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Mobile employee &amp; productivity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Renewed store &amp; district manager focu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Pop-ups, events, taking it to the consumer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Blurring the lines on format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LP &amp; computer vision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6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India &gt; China for growth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E9C5A0B-DC28-27C8-3CE3-115E8AFDCABB}"/>
              </a:ext>
            </a:extLst>
          </p:cNvPr>
          <p:cNvGrpSpPr/>
          <p:nvPr/>
        </p:nvGrpSpPr>
        <p:grpSpPr>
          <a:xfrm>
            <a:off x="9069287" y="1286737"/>
            <a:ext cx="2743200" cy="4663441"/>
            <a:chOff x="379512" y="1286737"/>
            <a:chExt cx="2743200" cy="4663441"/>
          </a:xfrm>
        </p:grpSpPr>
        <p:sp>
          <p:nvSpPr>
            <p:cNvPr id="23" name="Round Same Side Corner Rectangle 22">
              <a:extLst>
                <a:ext uri="{FF2B5EF4-FFF2-40B4-BE49-F238E27FC236}">
                  <a16:creationId xmlns:a16="http://schemas.microsoft.com/office/drawing/2014/main" id="{982857D5-58D8-A5E3-407B-DE9E0ED30BA7}"/>
                </a:ext>
              </a:extLst>
            </p:cNvPr>
            <p:cNvSpPr/>
            <p:nvPr/>
          </p:nvSpPr>
          <p:spPr>
            <a:xfrm>
              <a:off x="379512" y="1286737"/>
              <a:ext cx="2743200" cy="914400"/>
            </a:xfrm>
            <a:prstGeom prst="round2SameRect">
              <a:avLst>
                <a:gd name="adj1" fmla="val 9690"/>
                <a:gd name="adj2" fmla="val 0"/>
              </a:avLst>
            </a:prstGeom>
            <a:solidFill>
              <a:schemeClr val="accent5"/>
            </a:solidFill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1st Party Data &amp; </a:t>
              </a:r>
            </a:p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The Return of Brand</a:t>
              </a:r>
            </a:p>
          </p:txBody>
        </p:sp>
        <p:sp>
          <p:nvSpPr>
            <p:cNvPr id="24" name="Round Same Side Corner Rectangle 23">
              <a:extLst>
                <a:ext uri="{FF2B5EF4-FFF2-40B4-BE49-F238E27FC236}">
                  <a16:creationId xmlns:a16="http://schemas.microsoft.com/office/drawing/2014/main" id="{8397694A-7DC6-5431-A926-75C031C1B3FC}"/>
                </a:ext>
              </a:extLst>
            </p:cNvPr>
            <p:cNvSpPr/>
            <p:nvPr/>
          </p:nvSpPr>
          <p:spPr>
            <a:xfrm>
              <a:off x="379512" y="2201137"/>
              <a:ext cx="2743200" cy="3749041"/>
            </a:xfrm>
            <a:prstGeom prst="round2SameRect">
              <a:avLst>
                <a:gd name="adj1" fmla="val 0"/>
                <a:gd name="adj2" fmla="val 3488"/>
              </a:avLst>
            </a:pr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rIns="182880" rtlCol="0" anchor="ctr"/>
            <a:lstStyle/>
            <a:p>
              <a:pPr marL="182880" indent="-182880">
                <a:spcBef>
                  <a:spcPts val="6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Company-level data strategies – renewed interest in “data as the new oil (gold)”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>
                  <a:solidFill>
                    <a:schemeClr val="tx1"/>
                  </a:solidFill>
                </a:rPr>
                <a:t>Pragmatic customer insights and how to deliver them – segment-less customer segments</a:t>
              </a:r>
            </a:p>
            <a:p>
              <a:pPr marL="182880" indent="-182880">
                <a:spcBef>
                  <a:spcPts val="600"/>
                </a:spcBef>
                <a:buClr>
                  <a:schemeClr val="accent5"/>
                </a:buClr>
                <a:buFont typeface="Arial" panose="020B0604020202020204" pitchFamily="34" charset="0"/>
                <a:buChar char="•"/>
              </a:pPr>
              <a:r>
                <a:rPr lang="en-US" sz="1300" spc="0" dirty="0" err="1">
                  <a:solidFill>
                    <a:schemeClr val="tx1"/>
                  </a:solidFill>
                </a:rPr>
                <a:t>GenAI</a:t>
              </a:r>
              <a:r>
                <a:rPr lang="en-US" sz="1300" spc="0" dirty="0">
                  <a:solidFill>
                    <a:schemeClr val="tx1"/>
                  </a:solidFill>
                </a:rPr>
                <a:t> for customer experience, engagement, and off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75032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C198881-0AE4-B993-49DF-2C58622B4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341615"/>
            <a:ext cx="11432976" cy="731520"/>
          </a:xfrm>
        </p:spPr>
        <p:txBody>
          <a:bodyPr/>
          <a:lstStyle/>
          <a:p>
            <a:r>
              <a:rPr lang="en-US"/>
              <a:t>A Proces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A9A2D1-FF21-7601-6D1E-BFF59852FB7F}"/>
              </a:ext>
            </a:extLst>
          </p:cNvPr>
          <p:cNvSpPr txBox="1"/>
          <p:nvPr/>
        </p:nvSpPr>
        <p:spPr>
          <a:xfrm>
            <a:off x="975361" y="5158154"/>
            <a:ext cx="201168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300">
                <a:solidFill>
                  <a:schemeClr val="tx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The state of Consumers, Tech, and Retailers at the end of 2023</a:t>
            </a: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0" name="Rectangle: Rounded Corners 1158">
            <a:extLst>
              <a:ext uri="{FF2B5EF4-FFF2-40B4-BE49-F238E27FC236}">
                <a16:creationId xmlns:a16="http://schemas.microsoft.com/office/drawing/2014/main" id="{D6332BFA-8D80-F180-5E70-271724FF20C5}"/>
              </a:ext>
            </a:extLst>
          </p:cNvPr>
          <p:cNvSpPr/>
          <p:nvPr/>
        </p:nvSpPr>
        <p:spPr>
          <a:xfrm>
            <a:off x="701040" y="4395928"/>
            <a:ext cx="2560320" cy="54864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Current State</a:t>
            </a:r>
          </a:p>
        </p:txBody>
      </p:sp>
      <p:sp>
        <p:nvSpPr>
          <p:cNvPr id="84" name="Rectangle: Rounded Corners 1158">
            <a:extLst>
              <a:ext uri="{FF2B5EF4-FFF2-40B4-BE49-F238E27FC236}">
                <a16:creationId xmlns:a16="http://schemas.microsoft.com/office/drawing/2014/main" id="{3162C64E-EA5D-0C74-7AAD-708A8DDFD80F}"/>
              </a:ext>
            </a:extLst>
          </p:cNvPr>
          <p:cNvSpPr/>
          <p:nvPr/>
        </p:nvSpPr>
        <p:spPr>
          <a:xfrm>
            <a:off x="3444240" y="4395928"/>
            <a:ext cx="2560320" cy="54864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Expectations for 2024</a:t>
            </a:r>
          </a:p>
        </p:txBody>
      </p:sp>
      <p:sp>
        <p:nvSpPr>
          <p:cNvPr id="85" name="Rectangle: Rounded Corners 1158">
            <a:extLst>
              <a:ext uri="{FF2B5EF4-FFF2-40B4-BE49-F238E27FC236}">
                <a16:creationId xmlns:a16="http://schemas.microsoft.com/office/drawing/2014/main" id="{5F83DF57-36F5-9B0A-55BC-0B451D328758}"/>
              </a:ext>
            </a:extLst>
          </p:cNvPr>
          <p:cNvSpPr/>
          <p:nvPr/>
        </p:nvSpPr>
        <p:spPr>
          <a:xfrm>
            <a:off x="6187440" y="4395928"/>
            <a:ext cx="2560320" cy="54864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Capability Gaps</a:t>
            </a:r>
          </a:p>
        </p:txBody>
      </p:sp>
      <p:sp>
        <p:nvSpPr>
          <p:cNvPr id="86" name="Rectangle: Rounded Corners 1158">
            <a:extLst>
              <a:ext uri="{FF2B5EF4-FFF2-40B4-BE49-F238E27FC236}">
                <a16:creationId xmlns:a16="http://schemas.microsoft.com/office/drawing/2014/main" id="{83EE05D0-FFEE-B546-1AFE-5903DEDE5E82}"/>
              </a:ext>
            </a:extLst>
          </p:cNvPr>
          <p:cNvSpPr/>
          <p:nvPr/>
        </p:nvSpPr>
        <p:spPr>
          <a:xfrm>
            <a:off x="8930640" y="4395928"/>
            <a:ext cx="2560320" cy="5486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Tech Prioriti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E5568CF7-D938-192A-3BC6-E99F8061759A}"/>
              </a:ext>
            </a:extLst>
          </p:cNvPr>
          <p:cNvSpPr txBox="1"/>
          <p:nvPr/>
        </p:nvSpPr>
        <p:spPr>
          <a:xfrm>
            <a:off x="3810000" y="5158154"/>
            <a:ext cx="182880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300">
                <a:solidFill>
                  <a:schemeClr val="tx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What do consumers want and how are retailers responding?</a:t>
            </a: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0F247C2-57AA-516D-91F4-DE8C2C5F2F1B}"/>
              </a:ext>
            </a:extLst>
          </p:cNvPr>
          <p:cNvSpPr txBox="1"/>
          <p:nvPr/>
        </p:nvSpPr>
        <p:spPr>
          <a:xfrm>
            <a:off x="6553202" y="5158154"/>
            <a:ext cx="182880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300">
                <a:solidFill>
                  <a:schemeClr val="tx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What retailers will need to do but can’t</a:t>
            </a: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388A1A45-8378-9D73-B223-573A9B77434B}"/>
              </a:ext>
            </a:extLst>
          </p:cNvPr>
          <p:cNvSpPr txBox="1"/>
          <p:nvPr/>
        </p:nvSpPr>
        <p:spPr>
          <a:xfrm>
            <a:off x="9296400" y="5158154"/>
            <a:ext cx="1828800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sz="1300">
                <a:solidFill>
                  <a:schemeClr val="tx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Which gaps are retailers prioritizing for tech investment?</a:t>
            </a:r>
            <a:endParaRPr lang="en-US" sz="1300">
              <a:solidFill>
                <a:schemeClr val="tx1"/>
              </a:solidFill>
            </a:endParaRPr>
          </a:p>
        </p:txBody>
      </p: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152AD93A-8923-CE32-CD63-C98C781CB626}"/>
              </a:ext>
            </a:extLst>
          </p:cNvPr>
          <p:cNvGrpSpPr/>
          <p:nvPr/>
        </p:nvGrpSpPr>
        <p:grpSpPr>
          <a:xfrm>
            <a:off x="323601" y="1286736"/>
            <a:ext cx="11544799" cy="2743199"/>
            <a:chOff x="323601" y="1286736"/>
            <a:chExt cx="11544799" cy="2743199"/>
          </a:xfrm>
        </p:grpSpPr>
        <p:sp>
          <p:nvSpPr>
            <p:cNvPr id="75" name="Round Same Side Corner Rectangle 74">
              <a:extLst>
                <a:ext uri="{FF2B5EF4-FFF2-40B4-BE49-F238E27FC236}">
                  <a16:creationId xmlns:a16="http://schemas.microsoft.com/office/drawing/2014/main" id="{C109B06E-E101-A81F-BA18-2EBFC1483162}"/>
                </a:ext>
              </a:extLst>
            </p:cNvPr>
            <p:cNvSpPr/>
            <p:nvPr/>
          </p:nvSpPr>
          <p:spPr>
            <a:xfrm>
              <a:off x="6096001" y="1286736"/>
              <a:ext cx="2743200" cy="1371556"/>
            </a:xfrm>
            <a:prstGeom prst="round2Same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ound Same Side Corner Rectangle 63">
              <a:extLst>
                <a:ext uri="{FF2B5EF4-FFF2-40B4-BE49-F238E27FC236}">
                  <a16:creationId xmlns:a16="http://schemas.microsoft.com/office/drawing/2014/main" id="{05D22038-B4CB-6737-BB8D-C5FCE0935D7F}"/>
                </a:ext>
              </a:extLst>
            </p:cNvPr>
            <p:cNvSpPr/>
            <p:nvPr/>
          </p:nvSpPr>
          <p:spPr>
            <a:xfrm rot="10800000">
              <a:off x="8839200" y="2658379"/>
              <a:ext cx="2743200" cy="1371556"/>
            </a:xfrm>
            <a:prstGeom prst="round2Same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ound Same Side Corner Rectangle 70">
              <a:extLst>
                <a:ext uri="{FF2B5EF4-FFF2-40B4-BE49-F238E27FC236}">
                  <a16:creationId xmlns:a16="http://schemas.microsoft.com/office/drawing/2014/main" id="{B4859461-1FDA-273D-AF68-C38B4F04EB0A}"/>
                </a:ext>
              </a:extLst>
            </p:cNvPr>
            <p:cNvSpPr/>
            <p:nvPr/>
          </p:nvSpPr>
          <p:spPr>
            <a:xfrm rot="10800000">
              <a:off x="3352801" y="2658379"/>
              <a:ext cx="2743200" cy="1371556"/>
            </a:xfrm>
            <a:prstGeom prst="round2Same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Round Same Side Corner Rectangle 72">
              <a:extLst>
                <a:ext uri="{FF2B5EF4-FFF2-40B4-BE49-F238E27FC236}">
                  <a16:creationId xmlns:a16="http://schemas.microsoft.com/office/drawing/2014/main" id="{F7251DBC-BA1C-B8FD-CA35-5C1D3CDCD0CE}"/>
                </a:ext>
              </a:extLst>
            </p:cNvPr>
            <p:cNvSpPr/>
            <p:nvPr/>
          </p:nvSpPr>
          <p:spPr>
            <a:xfrm>
              <a:off x="609601" y="1286736"/>
              <a:ext cx="2743200" cy="1371556"/>
            </a:xfrm>
            <a:prstGeom prst="round2SameRect">
              <a:avLst/>
            </a:prstGeom>
            <a:solidFill>
              <a:schemeClr val="bg1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F13F822-F219-72B8-2501-7257B5ACE397}"/>
                </a:ext>
              </a:extLst>
            </p:cNvPr>
            <p:cNvSpPr/>
            <p:nvPr/>
          </p:nvSpPr>
          <p:spPr>
            <a:xfrm>
              <a:off x="323601" y="2570293"/>
              <a:ext cx="11544799" cy="1898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4B40FE45-161A-EB34-2496-21B5E16A83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21486" y="2442056"/>
              <a:ext cx="446314" cy="44631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4</a:t>
              </a:r>
            </a:p>
          </p:txBody>
        </p:sp>
        <p:sp>
          <p:nvSpPr>
            <p:cNvPr id="80" name="Triangle 79">
              <a:extLst>
                <a:ext uri="{FF2B5EF4-FFF2-40B4-BE49-F238E27FC236}">
                  <a16:creationId xmlns:a16="http://schemas.microsoft.com/office/drawing/2014/main" id="{DE4EF684-B0B5-F561-9208-A5AD05A865B9}"/>
                </a:ext>
              </a:extLst>
            </p:cNvPr>
            <p:cNvSpPr/>
            <p:nvPr/>
          </p:nvSpPr>
          <p:spPr>
            <a:xfrm>
              <a:off x="11447962" y="2541769"/>
              <a:ext cx="274320" cy="246888"/>
            </a:xfrm>
            <a:prstGeom prst="triangl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1CA7F51D-19C3-5B4D-370D-A788EACC6D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1886" y="2442056"/>
              <a:ext cx="446314" cy="446314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1</a:t>
              </a: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B5248D0-376E-4D2B-CE75-505D9FC249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64981" y="2439637"/>
              <a:ext cx="451152" cy="45115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3</a:t>
              </a: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8D09D30-8FA4-3F6D-FF1A-4CF4FA7D7B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21781" y="2439637"/>
              <a:ext cx="451152" cy="451152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/>
                <a:t>2</a:t>
              </a:r>
            </a:p>
          </p:txBody>
        </p:sp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1377B1FC-5913-49CB-D453-44E0F687A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757682" y="2208013"/>
              <a:ext cx="914400" cy="914400"/>
            </a:xfrm>
            <a:prstGeom prst="rect">
              <a:avLst/>
            </a:prstGeom>
          </p:spPr>
        </p:pic>
        <p:pic>
          <p:nvPicPr>
            <p:cNvPr id="99" name="Graphic 98">
              <a:extLst>
                <a:ext uri="{FF2B5EF4-FFF2-40B4-BE49-F238E27FC236}">
                  <a16:creationId xmlns:a16="http://schemas.microsoft.com/office/drawing/2014/main" id="{89012E88-B839-15B7-559D-D873A91C30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524001" y="2208013"/>
              <a:ext cx="914400" cy="914400"/>
            </a:xfrm>
            <a:prstGeom prst="rect">
              <a:avLst/>
            </a:prstGeom>
          </p:spPr>
        </p:pic>
        <p:pic>
          <p:nvPicPr>
            <p:cNvPr id="105" name="Graphic 104">
              <a:extLst>
                <a:ext uri="{FF2B5EF4-FFF2-40B4-BE49-F238E27FC236}">
                  <a16:creationId xmlns:a16="http://schemas.microsoft.com/office/drawing/2014/main" id="{7ADABA01-2009-6BB9-6234-0F2AC3BC0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14482" y="2208013"/>
              <a:ext cx="914400" cy="914400"/>
            </a:xfrm>
            <a:prstGeom prst="rect">
              <a:avLst/>
            </a:prstGeom>
          </p:spPr>
        </p:pic>
        <p:pic>
          <p:nvPicPr>
            <p:cNvPr id="106" name="Graphic 105">
              <a:extLst>
                <a:ext uri="{FF2B5EF4-FFF2-40B4-BE49-F238E27FC236}">
                  <a16:creationId xmlns:a16="http://schemas.microsoft.com/office/drawing/2014/main" id="{D536310E-83D4-A1BA-4428-97DE0CBF0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271283" y="2208013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3971082"/>
      </p:ext>
    </p:extLst>
  </p:cSld>
  <p:clrMapOvr>
    <a:masterClrMapping/>
  </p:clrMapOvr>
  <p:transition spd="med"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4E8FC-2310-7D7C-5A5B-94D464DF0C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 and Questions?</a:t>
            </a:r>
          </a:p>
        </p:txBody>
      </p:sp>
    </p:spTree>
    <p:extLst>
      <p:ext uri="{BB962C8B-B14F-4D97-AF65-F5344CB8AC3E}">
        <p14:creationId xmlns:p14="http://schemas.microsoft.com/office/powerpoint/2010/main" val="1708398341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298E1AD-23CA-91B6-49B1-5225634400EF}"/>
              </a:ext>
            </a:extLst>
          </p:cNvPr>
          <p:cNvGraphicFramePr>
            <a:graphicFrameLocks noGrp="1"/>
          </p:cNvGraphicFramePr>
          <p:nvPr/>
        </p:nvGraphicFramePr>
        <p:xfrm>
          <a:off x="379510" y="1196896"/>
          <a:ext cx="11430000" cy="4800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03520">
                  <a:extLst>
                    <a:ext uri="{9D8B030D-6E8A-4147-A177-3AD203B41FA5}">
                      <a16:colId xmlns:a16="http://schemas.microsoft.com/office/drawing/2014/main" val="3264151836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1878868993"/>
                    </a:ext>
                  </a:extLst>
                </a:gridCol>
                <a:gridCol w="5303520">
                  <a:extLst>
                    <a:ext uri="{9D8B030D-6E8A-4147-A177-3AD203B41FA5}">
                      <a16:colId xmlns:a16="http://schemas.microsoft.com/office/drawing/2014/main" val="72591026"/>
                    </a:ext>
                  </a:extLst>
                </a:gridCol>
              </a:tblGrid>
              <a:tr h="594358">
                <a:tc>
                  <a:txBody>
                    <a:bodyPr/>
                    <a:lstStyle/>
                    <a:p>
                      <a:pPr algn="ctr"/>
                      <a:endParaRPr lang="en-US" sz="1800">
                        <a:solidFill>
                          <a:schemeClr val="accent4"/>
                        </a:solidFill>
                      </a:endParaRP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>
                        <a:solidFill>
                          <a:schemeClr val="accent4"/>
                        </a:solidFill>
                      </a:endParaRP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>
                        <a:solidFill>
                          <a:schemeClr val="accent4"/>
                        </a:solidFill>
                      </a:endParaRP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1647"/>
                  </a:ext>
                </a:extLst>
              </a:tr>
              <a:tr h="594358">
                <a:tc>
                  <a:txBody>
                    <a:bodyPr/>
                    <a:lstStyle/>
                    <a:p>
                      <a:pPr algn="r"/>
                      <a:r>
                        <a:rPr lang="en-US" sz="1800"/>
                        <a:t>Expectations of a recession</a:t>
                      </a: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/>
                        <a:t>Hopeful for a soft landing</a:t>
                      </a: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16150"/>
                  </a:ext>
                </a:extLst>
              </a:tr>
              <a:tr h="594358">
                <a:tc>
                  <a:txBody>
                    <a:bodyPr/>
                    <a:lstStyle/>
                    <a:p>
                      <a:pPr algn="r"/>
                      <a:r>
                        <a:rPr lang="en-US" sz="1800"/>
                        <a:t>Rate hikes / inflation</a:t>
                      </a: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/>
                        <a:t>Rate cuts? / “disinflation”</a:t>
                      </a: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6218375"/>
                  </a:ext>
                </a:extLst>
              </a:tr>
              <a:tr h="594358">
                <a:tc>
                  <a:txBody>
                    <a:bodyPr/>
                    <a:lstStyle/>
                    <a:p>
                      <a:pPr algn="r"/>
                      <a:r>
                        <a:rPr lang="en-US" sz="1800"/>
                        <a:t>WFH</a:t>
                      </a: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/>
                        <a:t>RTO?*</a:t>
                      </a: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5508393"/>
                  </a:ext>
                </a:extLst>
              </a:tr>
              <a:tr h="594358">
                <a:tc>
                  <a:txBody>
                    <a:bodyPr/>
                    <a:lstStyle/>
                    <a:p>
                      <a:pPr algn="r"/>
                      <a:r>
                        <a:rPr lang="en-US" sz="1800"/>
                        <a:t>China</a:t>
                      </a: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/>
                        <a:t>India</a:t>
                      </a: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549744"/>
                  </a:ext>
                </a:extLst>
              </a:tr>
              <a:tr h="594358">
                <a:tc>
                  <a:txBody>
                    <a:bodyPr/>
                    <a:lstStyle/>
                    <a:p>
                      <a:pPr algn="r"/>
                      <a:r>
                        <a:rPr lang="en-US" sz="1800"/>
                        <a:t>Revenue up, profits up, units down</a:t>
                      </a: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/>
                        <a:t>Difficult comps, units down</a:t>
                      </a: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8918230"/>
                  </a:ext>
                </a:extLst>
              </a:tr>
              <a:tr h="594358">
                <a:tc>
                  <a:txBody>
                    <a:bodyPr/>
                    <a:lstStyle/>
                    <a:p>
                      <a:pPr algn="r"/>
                      <a:r>
                        <a:rPr lang="en-US" sz="1800"/>
                        <a:t>Supply chain disruptions</a:t>
                      </a: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87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187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More stable supply chain (caveat for </a:t>
                      </a:r>
                      <a:br>
                        <a:rPr lang="en-US" sz="1800"/>
                      </a:br>
                      <a:r>
                        <a:rPr lang="en-US" sz="1800"/>
                        <a:t>Red Sea), questions about sources*</a:t>
                      </a:r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321886"/>
                  </a:ext>
                </a:extLst>
              </a:tr>
              <a:tr h="594358">
                <a:tc>
                  <a:txBody>
                    <a:bodyPr/>
                    <a:lstStyle/>
                    <a:p>
                      <a:pPr marL="0" marR="0" lvl="0" indent="0" algn="r" defTabSz="10187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/>
                        <a:t>Crypto</a:t>
                      </a:r>
                    </a:p>
                  </a:txBody>
                  <a:tcPr marL="274320" marR="27432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800" err="1"/>
                        <a:t>GenAI</a:t>
                      </a:r>
                      <a:endParaRPr lang="en-US" sz="1800"/>
                    </a:p>
                  </a:txBody>
                  <a:tcPr marL="274320" marR="2743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1317938"/>
                  </a:ext>
                </a:extLst>
              </a:tr>
            </a:tbl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85C9BE5E-BF00-FE24-596E-2A553FBFC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>
                <a:ea typeface="Roboto Light"/>
              </a:rPr>
              <a:t>Expectations 2023 vs 2024</a:t>
            </a:r>
            <a:endParaRPr lang="en-US" sz="3200">
              <a:ea typeface="Roboto Light"/>
              <a:cs typeface="Arial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BB4B842B-8575-473A-194E-23D3AB811D21}"/>
              </a:ext>
            </a:extLst>
          </p:cNvPr>
          <p:cNvSpPr/>
          <p:nvPr/>
        </p:nvSpPr>
        <p:spPr>
          <a:xfrm>
            <a:off x="379512" y="1196898"/>
            <a:ext cx="11432975" cy="4754880"/>
          </a:xfrm>
          <a:prstGeom prst="roundRect">
            <a:avLst>
              <a:gd name="adj" fmla="val 1970"/>
            </a:avLst>
          </a:prstGeom>
          <a:noFill/>
          <a:ln>
            <a:gradFill>
              <a:gsLst>
                <a:gs pos="0">
                  <a:schemeClr val="accent6"/>
                </a:gs>
                <a:gs pos="100000">
                  <a:schemeClr val="accent5"/>
                </a:gs>
              </a:gsLst>
              <a:lin ang="0" scaled="0"/>
            </a:gra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35B1625-42E1-AD58-6136-23F6EF2CB7D4}"/>
              </a:ext>
            </a:extLst>
          </p:cNvPr>
          <p:cNvCxnSpPr/>
          <p:nvPr/>
        </p:nvCxnSpPr>
        <p:spPr>
          <a:xfrm>
            <a:off x="5672254" y="2088995"/>
            <a:ext cx="825190" cy="0"/>
          </a:xfrm>
          <a:prstGeom prst="straightConnector1">
            <a:avLst/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FA2D205-BBC7-2D99-1FCC-5F0DF9684BC6}"/>
              </a:ext>
            </a:extLst>
          </p:cNvPr>
          <p:cNvCxnSpPr/>
          <p:nvPr/>
        </p:nvCxnSpPr>
        <p:spPr>
          <a:xfrm>
            <a:off x="5672254" y="2681249"/>
            <a:ext cx="825190" cy="0"/>
          </a:xfrm>
          <a:prstGeom prst="straightConnector1">
            <a:avLst/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3860BDC-1929-FDFE-8846-3D43E3348BD3}"/>
              </a:ext>
            </a:extLst>
          </p:cNvPr>
          <p:cNvCxnSpPr/>
          <p:nvPr/>
        </p:nvCxnSpPr>
        <p:spPr>
          <a:xfrm>
            <a:off x="5672254" y="3273503"/>
            <a:ext cx="825190" cy="0"/>
          </a:xfrm>
          <a:prstGeom prst="straightConnector1">
            <a:avLst/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A31DAA7B-7E3E-AEF6-3775-7C96DF131832}"/>
              </a:ext>
            </a:extLst>
          </p:cNvPr>
          <p:cNvCxnSpPr/>
          <p:nvPr/>
        </p:nvCxnSpPr>
        <p:spPr>
          <a:xfrm>
            <a:off x="5672254" y="3865757"/>
            <a:ext cx="825190" cy="0"/>
          </a:xfrm>
          <a:prstGeom prst="straightConnector1">
            <a:avLst/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FC4CB6B6-4C0F-66F3-4E57-B6DE0ECAFC7F}"/>
              </a:ext>
            </a:extLst>
          </p:cNvPr>
          <p:cNvCxnSpPr/>
          <p:nvPr/>
        </p:nvCxnSpPr>
        <p:spPr>
          <a:xfrm>
            <a:off x="5672254" y="4458011"/>
            <a:ext cx="825190" cy="0"/>
          </a:xfrm>
          <a:prstGeom prst="straightConnector1">
            <a:avLst/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D3AD4E11-3BB1-F6C6-1D79-5A27AD84551D}"/>
              </a:ext>
            </a:extLst>
          </p:cNvPr>
          <p:cNvCxnSpPr/>
          <p:nvPr/>
        </p:nvCxnSpPr>
        <p:spPr>
          <a:xfrm>
            <a:off x="5672254" y="5087435"/>
            <a:ext cx="825190" cy="0"/>
          </a:xfrm>
          <a:prstGeom prst="straightConnector1">
            <a:avLst/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BEC1D449-60DD-3640-374B-8F9EF37DACDC}"/>
              </a:ext>
            </a:extLst>
          </p:cNvPr>
          <p:cNvCxnSpPr/>
          <p:nvPr/>
        </p:nvCxnSpPr>
        <p:spPr>
          <a:xfrm>
            <a:off x="5672254" y="5672254"/>
            <a:ext cx="825190" cy="0"/>
          </a:xfrm>
          <a:prstGeom prst="straightConnector1">
            <a:avLst/>
          </a:prstGeom>
          <a:ln w="254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A6F0958-0C99-7251-D25C-FCA3109A0F0A}"/>
              </a:ext>
            </a:extLst>
          </p:cNvPr>
          <p:cNvGrpSpPr/>
          <p:nvPr/>
        </p:nvGrpSpPr>
        <p:grpSpPr>
          <a:xfrm>
            <a:off x="379512" y="1199564"/>
            <a:ext cx="11432975" cy="594358"/>
            <a:chOff x="379512" y="1287463"/>
            <a:chExt cx="11432975" cy="594358"/>
          </a:xfrm>
        </p:grpSpPr>
        <p:sp>
          <p:nvSpPr>
            <p:cNvPr id="36" name="Round Same Side Corner Rectangle 35">
              <a:extLst>
                <a:ext uri="{FF2B5EF4-FFF2-40B4-BE49-F238E27FC236}">
                  <a16:creationId xmlns:a16="http://schemas.microsoft.com/office/drawing/2014/main" id="{FACEFF0A-2FC1-68C9-8A30-41EBF63CEE9B}"/>
                </a:ext>
              </a:extLst>
            </p:cNvPr>
            <p:cNvSpPr/>
            <p:nvPr/>
          </p:nvSpPr>
          <p:spPr>
            <a:xfrm>
              <a:off x="379512" y="1287463"/>
              <a:ext cx="11432975" cy="594358"/>
            </a:xfrm>
            <a:prstGeom prst="round2SameRect">
              <a:avLst>
                <a:gd name="adj1" fmla="val 14692"/>
                <a:gd name="adj2" fmla="val 0"/>
              </a:avLst>
            </a:prstGeom>
            <a:gradFill>
              <a:gsLst>
                <a:gs pos="0">
                  <a:schemeClr val="accent6"/>
                </a:gs>
                <a:gs pos="100000">
                  <a:schemeClr val="accent5"/>
                </a:gs>
              </a:gsLst>
              <a:lin ang="0" scaled="0"/>
            </a:gradFill>
            <a:ln w="19050">
              <a:gradFill>
                <a:gsLst>
                  <a:gs pos="0">
                    <a:schemeClr val="accent6"/>
                  </a:gs>
                  <a:gs pos="100000">
                    <a:schemeClr val="accent5"/>
                  </a:gs>
                </a:gsLst>
                <a:lin ang="0" scaled="0"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041572B-1D43-CC19-3D47-B9B8B1EFBD87}"/>
                </a:ext>
              </a:extLst>
            </p:cNvPr>
            <p:cNvSpPr txBox="1"/>
            <p:nvPr/>
          </p:nvSpPr>
          <p:spPr>
            <a:xfrm>
              <a:off x="4334107" y="1399976"/>
              <a:ext cx="11374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800" b="1">
                  <a:solidFill>
                    <a:schemeClr val="bg1"/>
                  </a:solidFill>
                </a:rPr>
                <a:t>FROM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4313803-9BD4-FB12-B9FD-190FDBF09070}"/>
                </a:ext>
              </a:extLst>
            </p:cNvPr>
            <p:cNvSpPr txBox="1"/>
            <p:nvPr/>
          </p:nvSpPr>
          <p:spPr>
            <a:xfrm>
              <a:off x="6720099" y="1399976"/>
              <a:ext cx="113742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>
                  <a:solidFill>
                    <a:schemeClr val="bg1"/>
                  </a:solidFill>
                </a:rPr>
                <a:t>TO</a:t>
              </a:r>
            </a:p>
          </p:txBody>
        </p:sp>
      </p:grp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BBF04C8D-F370-FEFB-90C2-04F5A1E99378}"/>
              </a:ext>
            </a:extLst>
          </p:cNvPr>
          <p:cNvCxnSpPr>
            <a:cxnSpLocks/>
          </p:cNvCxnSpPr>
          <p:nvPr/>
        </p:nvCxnSpPr>
        <p:spPr>
          <a:xfrm>
            <a:off x="5672254" y="1496743"/>
            <a:ext cx="825190" cy="0"/>
          </a:xfrm>
          <a:prstGeom prst="straightConnector1">
            <a:avLst/>
          </a:prstGeom>
          <a:ln w="254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648831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erson holding a glowing device&#10;&#10;Description automatically generated">
            <a:extLst>
              <a:ext uri="{FF2B5EF4-FFF2-40B4-BE49-F238E27FC236}">
                <a16:creationId xmlns:a16="http://schemas.microsoft.com/office/drawing/2014/main" id="{114222DB-288B-AD41-149D-639874FE8CB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9" r="19843"/>
          <a:stretch/>
        </p:blipFill>
        <p:spPr>
          <a:xfrm>
            <a:off x="8125521" y="0"/>
            <a:ext cx="4064576" cy="6309670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A26ED1-5DD3-C0CC-26E1-6E4941432E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9512" y="2110242"/>
            <a:ext cx="7313375" cy="3292046"/>
          </a:xfrm>
        </p:spPr>
        <p:txBody>
          <a:bodyPr>
            <a:spAutoFit/>
          </a:bodyPr>
          <a:lstStyle/>
          <a:p>
            <a:r>
              <a:rPr lang="en-US" sz="1800"/>
              <a:t>Even though it’s moving fast, it’s still very early days for understanding how </a:t>
            </a:r>
            <a:r>
              <a:rPr lang="en-US" sz="1800" err="1"/>
              <a:t>GenAI</a:t>
            </a:r>
            <a:r>
              <a:rPr lang="en-US" sz="1800"/>
              <a:t> will impact retailers and consumers</a:t>
            </a:r>
          </a:p>
          <a:p>
            <a:r>
              <a:rPr lang="en-US" sz="1800"/>
              <a:t>Something like 4% of all companies, across industries say they have “implemented” </a:t>
            </a:r>
            <a:r>
              <a:rPr lang="en-US" sz="1800" err="1"/>
              <a:t>GenAI</a:t>
            </a:r>
            <a:endParaRPr lang="en-US" sz="1800"/>
          </a:p>
          <a:p>
            <a:r>
              <a:rPr lang="en-US" sz="1800"/>
              <a:t>Productivity studies show that </a:t>
            </a:r>
            <a:r>
              <a:rPr lang="en-US" sz="1800" err="1"/>
              <a:t>GenAI’s</a:t>
            </a:r>
            <a:r>
              <a:rPr lang="en-US" sz="1800"/>
              <a:t> biggest impact is in bringing poor performers up to “average”</a:t>
            </a:r>
          </a:p>
          <a:p>
            <a:r>
              <a:rPr lang="en-US" sz="1800"/>
              <a:t>A real, open question:</a:t>
            </a:r>
          </a:p>
          <a:p>
            <a:pPr lvl="1"/>
            <a:r>
              <a:rPr lang="en-US" sz="1600"/>
              <a:t>“When everyone is super, no one will be” – Syndrome, </a:t>
            </a:r>
            <a:r>
              <a:rPr lang="en-US" sz="1600" i="1"/>
              <a:t>The Incredibles</a:t>
            </a:r>
            <a:endParaRPr lang="en-US" sz="1600"/>
          </a:p>
          <a:p>
            <a:pPr lvl="1"/>
            <a:r>
              <a:rPr lang="en-US" sz="1600"/>
              <a:t>Generation loss?</a:t>
            </a:r>
          </a:p>
          <a:p>
            <a:pPr lvl="1"/>
            <a:r>
              <a:rPr lang="en-US" sz="1600"/>
              <a:t>No such thing as “unlearning”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5F656D2-32EC-DBDE-734B-29EC1EC75D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6" y="788749"/>
            <a:ext cx="7297912" cy="1111449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b="1">
                <a:solidFill>
                  <a:schemeClr val="accent4"/>
                </a:solidFill>
              </a:rPr>
              <a:t>Generative AI:</a:t>
            </a:r>
            <a:br>
              <a:rPr lang="en-US" b="1">
                <a:solidFill>
                  <a:schemeClr val="accent4"/>
                </a:solidFill>
              </a:rPr>
            </a:br>
            <a:r>
              <a:rPr lang="en-US"/>
              <a:t>Lots of hype, less reality</a:t>
            </a:r>
          </a:p>
        </p:txBody>
      </p:sp>
    </p:spTree>
    <p:extLst>
      <p:ext uri="{BB962C8B-B14F-4D97-AF65-F5344CB8AC3E}">
        <p14:creationId xmlns:p14="http://schemas.microsoft.com/office/powerpoint/2010/main" val="93382344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Placeholder 23" descr="A person standing on a rock with a bright sun behind the&#10;&#10;Description automatically generated with medium confidence">
            <a:extLst>
              <a:ext uri="{FF2B5EF4-FFF2-40B4-BE49-F238E27FC236}">
                <a16:creationId xmlns:a16="http://schemas.microsoft.com/office/drawing/2014/main" id="{4D3A03F1-E49E-5915-A359-013C6FE30E9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4" r="46272"/>
          <a:stretch/>
        </p:blipFill>
        <p:spPr>
          <a:xfrm>
            <a:off x="0" y="1478044"/>
            <a:ext cx="2432304" cy="3371588"/>
          </a:xfrm>
        </p:spPr>
      </p:pic>
      <p:pic>
        <p:nvPicPr>
          <p:cNvPr id="26" name="Picture Placeholder 25" descr="A picture containing sky, tree, outdoor, grass&#10;&#10;Description automatically generated">
            <a:extLst>
              <a:ext uri="{FF2B5EF4-FFF2-40B4-BE49-F238E27FC236}">
                <a16:creationId xmlns:a16="http://schemas.microsoft.com/office/drawing/2014/main" id="{58EE169B-01CE-9EB5-3194-8C829869458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5" t="15180" r="32760" b="-2194"/>
          <a:stretch/>
        </p:blipFill>
        <p:spPr>
          <a:xfrm>
            <a:off x="2433066" y="1478044"/>
            <a:ext cx="2441448" cy="3371588"/>
          </a:xfrm>
        </p:spPr>
      </p:pic>
      <p:pic>
        <p:nvPicPr>
          <p:cNvPr id="28" name="Picture Placeholder 27" descr="A person holding a sign&#10;&#10;Description automatically generated">
            <a:extLst>
              <a:ext uri="{FF2B5EF4-FFF2-40B4-BE49-F238E27FC236}">
                <a16:creationId xmlns:a16="http://schemas.microsoft.com/office/drawing/2014/main" id="{45112C62-8024-861C-D5AD-024F793F57F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37" r="29637"/>
          <a:stretch/>
        </p:blipFill>
        <p:spPr/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466F5C95-09B2-B4D5-A4D3-E33757E682C6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63" t="6748" r="22593" b="-6748"/>
          <a:stretch/>
        </p:blipFill>
        <p:spPr>
          <a:xfrm>
            <a:off x="7317486" y="1478044"/>
            <a:ext cx="2441448" cy="3371588"/>
          </a:xfrm>
        </p:spPr>
      </p:pic>
      <p:pic>
        <p:nvPicPr>
          <p:cNvPr id="30" name="Picture Placeholder 29" descr="A person holding a camera&#10;&#10;Description automatically generated with low confidence">
            <a:extLst>
              <a:ext uri="{FF2B5EF4-FFF2-40B4-BE49-F238E27FC236}">
                <a16:creationId xmlns:a16="http://schemas.microsoft.com/office/drawing/2014/main" id="{2C2E885D-396C-A323-E536-2D59B6F0BD13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9" b="3829"/>
          <a:stretch/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610F04-3563-9ABD-85E0-8083DE00A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365760"/>
            <a:ext cx="11432976" cy="731520"/>
          </a:xfrm>
        </p:spPr>
        <p:txBody>
          <a:bodyPr/>
          <a:lstStyle/>
          <a:p>
            <a:pPr algn="ctr"/>
            <a:r>
              <a:rPr lang="en-US"/>
              <a:t>Five Dominant Consumer Behaviors in 20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A52EA91-C302-0F4F-78CF-E6704A3348D6}"/>
              </a:ext>
            </a:extLst>
          </p:cNvPr>
          <p:cNvSpPr txBox="1"/>
          <p:nvPr/>
        </p:nvSpPr>
        <p:spPr>
          <a:xfrm>
            <a:off x="116172" y="5070574"/>
            <a:ext cx="219456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Moving beyond more specific terms like “fitness” or “health” to mean something broader – mental, physical, emotional, proactive &amp; preventive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43C947F-9C21-3073-2324-BE68C5AB6B18}"/>
              </a:ext>
            </a:extLst>
          </p:cNvPr>
          <p:cNvSpPr txBox="1"/>
          <p:nvPr/>
        </p:nvSpPr>
        <p:spPr>
          <a:xfrm>
            <a:off x="2559945" y="5070574"/>
            <a:ext cx="219456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Tied to wellness, a belief that scaling down and using less (owning less) is an important contribution to the overall health of Earth and us, by extension.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EDFE194-ED68-448D-42E5-FDA2CC54998F}"/>
              </a:ext>
            </a:extLst>
          </p:cNvPr>
          <p:cNvSpPr txBox="1"/>
          <p:nvPr/>
        </p:nvSpPr>
        <p:spPr>
          <a:xfrm>
            <a:off x="4989968" y="5070574"/>
            <a:ext cx="219456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An expectation that the only way to get change is to agitate for it. The next step in cancel culture, an extension of the demand for greater transparency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5D569B-0042-4209-9036-BA806CC82D11}"/>
              </a:ext>
            </a:extLst>
          </p:cNvPr>
          <p:cNvSpPr txBox="1"/>
          <p:nvPr/>
        </p:nvSpPr>
        <p:spPr>
          <a:xfrm>
            <a:off x="7433741" y="5070574"/>
            <a:ext cx="219456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Weariness of “</a:t>
            </a:r>
            <a:r>
              <a:rPr lang="en-US" sz="1100" err="1"/>
              <a:t>permacrisis</a:t>
            </a:r>
            <a:r>
              <a:rPr lang="en-US" sz="1100"/>
              <a:t>” is leading consumers to focus more on optimism and how to create positive outcome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C500784-9040-C11B-6D97-3B8AF3F1345F}"/>
              </a:ext>
            </a:extLst>
          </p:cNvPr>
          <p:cNvSpPr txBox="1"/>
          <p:nvPr/>
        </p:nvSpPr>
        <p:spPr>
          <a:xfrm>
            <a:off x="9877514" y="5070574"/>
            <a:ext cx="219456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Starting to see the results of decentralized technology, and an accrual of benefits to consumer “creators”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39106FC-E4E6-56CD-B6FA-DDEE699DFCB7}"/>
              </a:ext>
            </a:extLst>
          </p:cNvPr>
          <p:cNvSpPr txBox="1"/>
          <p:nvPr/>
        </p:nvSpPr>
        <p:spPr>
          <a:xfrm>
            <a:off x="0" y="4392432"/>
            <a:ext cx="2431504" cy="4572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Wellnes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12710BD-2FA8-495E-7892-17A175615CA5}"/>
              </a:ext>
            </a:extLst>
          </p:cNvPr>
          <p:cNvSpPr txBox="1"/>
          <p:nvPr/>
        </p:nvSpPr>
        <p:spPr>
          <a:xfrm>
            <a:off x="2429939" y="4392433"/>
            <a:ext cx="2448433" cy="457200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Less is Mo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B6E3A9B-8724-9752-40C2-BD7B6CAB9131}"/>
              </a:ext>
            </a:extLst>
          </p:cNvPr>
          <p:cNvSpPr txBox="1"/>
          <p:nvPr/>
        </p:nvSpPr>
        <p:spPr>
          <a:xfrm>
            <a:off x="4870704" y="4392433"/>
            <a:ext cx="2441447" cy="45720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ctionis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9C2AB3F-69CC-63A4-B612-C70C876F8EA0}"/>
              </a:ext>
            </a:extLst>
          </p:cNvPr>
          <p:cNvSpPr txBox="1"/>
          <p:nvPr/>
        </p:nvSpPr>
        <p:spPr>
          <a:xfrm>
            <a:off x="7311407" y="4392433"/>
            <a:ext cx="2441475" cy="457200"/>
          </a:xfrm>
          <a:prstGeom prst="rect">
            <a:avLst/>
          </a:prstGeom>
          <a:solidFill>
            <a:schemeClr val="accent6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Manifesting Optimism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FCDF89-9159-10FA-3159-C4105ABC6197}"/>
              </a:ext>
            </a:extLst>
          </p:cNvPr>
          <p:cNvSpPr txBox="1"/>
          <p:nvPr/>
        </p:nvSpPr>
        <p:spPr>
          <a:xfrm>
            <a:off x="9755212" y="4392433"/>
            <a:ext cx="2439165" cy="4572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Decentral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0A5EFB5-C205-C681-BE74-F7801B9E9D45}"/>
              </a:ext>
            </a:extLst>
          </p:cNvPr>
          <p:cNvGrpSpPr/>
          <p:nvPr/>
        </p:nvGrpSpPr>
        <p:grpSpPr>
          <a:xfrm>
            <a:off x="2428463" y="1481342"/>
            <a:ext cx="7331319" cy="4828032"/>
            <a:chOff x="2428463" y="1481342"/>
            <a:chExt cx="7331319" cy="4828032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71F0054F-1821-AF48-0863-1A9BC925D26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2236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8B05E5AD-F1DF-9E2D-922E-9FE4F4992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16009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91BE704-3C09-EE2F-819B-C48A5F110CB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59782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E812BEE-A66A-4BDA-364A-60FDF36B57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428463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4404421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Placeholder 23" descr="A person standing on a rock with a bright sun behind the&#10;&#10;Description automatically generated with medium confidence">
            <a:extLst>
              <a:ext uri="{FF2B5EF4-FFF2-40B4-BE49-F238E27FC236}">
                <a16:creationId xmlns:a16="http://schemas.microsoft.com/office/drawing/2014/main" id="{4D3A03F1-E49E-5915-A359-013C6FE30E9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54" r="46272"/>
          <a:stretch/>
        </p:blipFill>
        <p:spPr>
          <a:xfrm>
            <a:off x="0" y="1478044"/>
            <a:ext cx="2432304" cy="3371588"/>
          </a:xfrm>
        </p:spPr>
      </p:pic>
      <p:pic>
        <p:nvPicPr>
          <p:cNvPr id="26" name="Picture Placeholder 25" descr="A picture containing sky, tree, outdoor, grass&#10;&#10;Description automatically generated">
            <a:extLst>
              <a:ext uri="{FF2B5EF4-FFF2-40B4-BE49-F238E27FC236}">
                <a16:creationId xmlns:a16="http://schemas.microsoft.com/office/drawing/2014/main" id="{58EE169B-01CE-9EB5-3194-8C829869458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5" t="15180" r="32760" b="-2194"/>
          <a:stretch/>
        </p:blipFill>
        <p:spPr>
          <a:xfrm>
            <a:off x="2433066" y="1478044"/>
            <a:ext cx="2441448" cy="3371588"/>
          </a:xfrm>
        </p:spPr>
      </p:pic>
      <p:pic>
        <p:nvPicPr>
          <p:cNvPr id="28" name="Picture Placeholder 27" descr="A person holding a sign&#10;&#10;Description automatically generated">
            <a:extLst>
              <a:ext uri="{FF2B5EF4-FFF2-40B4-BE49-F238E27FC236}">
                <a16:creationId xmlns:a16="http://schemas.microsoft.com/office/drawing/2014/main" id="{45112C62-8024-861C-D5AD-024F793F57F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37" r="29637"/>
          <a:stretch/>
        </p:blipFill>
        <p:spPr/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466F5C95-09B2-B4D5-A4D3-E33757E682C6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63" t="6748" r="22593" b="-6748"/>
          <a:stretch/>
        </p:blipFill>
        <p:spPr>
          <a:xfrm>
            <a:off x="7317486" y="1478044"/>
            <a:ext cx="2441448" cy="3371588"/>
          </a:xfrm>
        </p:spPr>
      </p:pic>
      <p:pic>
        <p:nvPicPr>
          <p:cNvPr id="30" name="Picture Placeholder 29" descr="A person holding a camera&#10;&#10;Description automatically generated with low confidence">
            <a:extLst>
              <a:ext uri="{FF2B5EF4-FFF2-40B4-BE49-F238E27FC236}">
                <a16:creationId xmlns:a16="http://schemas.microsoft.com/office/drawing/2014/main" id="{2C2E885D-396C-A323-E536-2D59B6F0BD13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9" b="3829"/>
          <a:stretch/>
        </p:blipFill>
        <p:spPr/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ABA4294-BAF8-6348-5CF4-37FF75A39FA7}"/>
              </a:ext>
            </a:extLst>
          </p:cNvPr>
          <p:cNvSpPr/>
          <p:nvPr/>
        </p:nvSpPr>
        <p:spPr>
          <a:xfrm>
            <a:off x="0" y="1478039"/>
            <a:ext cx="12191997" cy="2914393"/>
          </a:xfrm>
          <a:prstGeom prst="rect">
            <a:avLst/>
          </a:prstGeom>
          <a:solidFill>
            <a:schemeClr val="tx2">
              <a:lumMod val="5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610F04-3563-9ABD-85E0-8083DE00A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12" y="365760"/>
            <a:ext cx="11432976" cy="731520"/>
          </a:xfrm>
        </p:spPr>
        <p:txBody>
          <a:bodyPr/>
          <a:lstStyle/>
          <a:p>
            <a:pPr algn="ctr"/>
            <a:r>
              <a:rPr lang="en-US"/>
              <a:t>How these are trending in 2024</a:t>
            </a:r>
          </a:p>
        </p:txBody>
      </p:sp>
      <p:sp>
        <p:nvSpPr>
          <p:cNvPr id="8" name="Up Arrow 7">
            <a:extLst>
              <a:ext uri="{FF2B5EF4-FFF2-40B4-BE49-F238E27FC236}">
                <a16:creationId xmlns:a16="http://schemas.microsoft.com/office/drawing/2014/main" id="{A070C5E3-E80E-5938-F5A5-8A1E6F3C6840}"/>
              </a:ext>
            </a:extLst>
          </p:cNvPr>
          <p:cNvSpPr/>
          <p:nvPr/>
        </p:nvSpPr>
        <p:spPr>
          <a:xfrm>
            <a:off x="794318" y="2013316"/>
            <a:ext cx="839097" cy="2402266"/>
          </a:xfrm>
          <a:prstGeom prst="upArrow">
            <a:avLst/>
          </a:prstGeom>
          <a:solidFill>
            <a:srgbClr val="00B844"/>
          </a:solidFill>
          <a:ln>
            <a:noFill/>
          </a:ln>
          <a:effectLst>
            <a:outerShdw blurRad="152400" dist="508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Up Arrow 13">
            <a:extLst>
              <a:ext uri="{FF2B5EF4-FFF2-40B4-BE49-F238E27FC236}">
                <a16:creationId xmlns:a16="http://schemas.microsoft.com/office/drawing/2014/main" id="{1FF47C1E-207C-D7D4-916B-FE3E9DB38914}"/>
              </a:ext>
            </a:extLst>
          </p:cNvPr>
          <p:cNvSpPr/>
          <p:nvPr/>
        </p:nvSpPr>
        <p:spPr>
          <a:xfrm>
            <a:off x="3239575" y="2013316"/>
            <a:ext cx="839097" cy="2402266"/>
          </a:xfrm>
          <a:prstGeom prst="upArrow">
            <a:avLst/>
          </a:prstGeom>
          <a:solidFill>
            <a:srgbClr val="00B844"/>
          </a:solidFill>
          <a:ln>
            <a:noFill/>
          </a:ln>
          <a:effectLst>
            <a:outerShdw blurRad="152400" dist="508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Up Arrow 14">
            <a:extLst>
              <a:ext uri="{FF2B5EF4-FFF2-40B4-BE49-F238E27FC236}">
                <a16:creationId xmlns:a16="http://schemas.microsoft.com/office/drawing/2014/main" id="{E11CFF91-998F-F00B-CA7F-68D7CB8444A2}"/>
              </a:ext>
            </a:extLst>
          </p:cNvPr>
          <p:cNvSpPr/>
          <p:nvPr/>
        </p:nvSpPr>
        <p:spPr>
          <a:xfrm>
            <a:off x="5684832" y="3344774"/>
            <a:ext cx="839097" cy="1070808"/>
          </a:xfrm>
          <a:prstGeom prst="upArrow">
            <a:avLst/>
          </a:prstGeom>
          <a:solidFill>
            <a:srgbClr val="00B844"/>
          </a:solidFill>
          <a:ln>
            <a:noFill/>
          </a:ln>
          <a:effectLst>
            <a:outerShdw blurRad="152400" dist="508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Up Arrow 20">
            <a:extLst>
              <a:ext uri="{FF2B5EF4-FFF2-40B4-BE49-F238E27FC236}">
                <a16:creationId xmlns:a16="http://schemas.microsoft.com/office/drawing/2014/main" id="{BCA2E9B8-AE8E-B44A-8F1B-AFA562CE5AE7}"/>
              </a:ext>
            </a:extLst>
          </p:cNvPr>
          <p:cNvSpPr/>
          <p:nvPr/>
        </p:nvSpPr>
        <p:spPr>
          <a:xfrm rot="10800000">
            <a:off x="8121707" y="1478043"/>
            <a:ext cx="839097" cy="1415763"/>
          </a:xfrm>
          <a:prstGeom prst="upArrow">
            <a:avLst/>
          </a:prstGeom>
          <a:solidFill>
            <a:srgbClr val="FA0913"/>
          </a:solidFill>
          <a:ln>
            <a:noFill/>
          </a:ln>
          <a:effectLst>
            <a:outerShdw blurRad="152400" dist="508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Up Arrow 22">
            <a:extLst>
              <a:ext uri="{FF2B5EF4-FFF2-40B4-BE49-F238E27FC236}">
                <a16:creationId xmlns:a16="http://schemas.microsoft.com/office/drawing/2014/main" id="{A74DE05E-DA58-2118-8180-8FE6540A118B}"/>
              </a:ext>
            </a:extLst>
          </p:cNvPr>
          <p:cNvSpPr/>
          <p:nvPr/>
        </p:nvSpPr>
        <p:spPr>
          <a:xfrm rot="10800000">
            <a:off x="10565442" y="1478041"/>
            <a:ext cx="839097" cy="2190316"/>
          </a:xfrm>
          <a:prstGeom prst="upArrow">
            <a:avLst/>
          </a:prstGeom>
          <a:solidFill>
            <a:srgbClr val="FA0913"/>
          </a:solidFill>
          <a:ln>
            <a:noFill/>
          </a:ln>
          <a:effectLst>
            <a:outerShdw blurRad="152400" dist="508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39106FC-E4E6-56CD-B6FA-DDEE699DFCB7}"/>
              </a:ext>
            </a:extLst>
          </p:cNvPr>
          <p:cNvSpPr txBox="1"/>
          <p:nvPr/>
        </p:nvSpPr>
        <p:spPr>
          <a:xfrm>
            <a:off x="0" y="4392432"/>
            <a:ext cx="2431504" cy="457200"/>
          </a:xfrm>
          <a:prstGeom prst="rect">
            <a:avLst/>
          </a:pr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Wellnes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12710BD-2FA8-495E-7892-17A175615CA5}"/>
              </a:ext>
            </a:extLst>
          </p:cNvPr>
          <p:cNvSpPr txBox="1"/>
          <p:nvPr/>
        </p:nvSpPr>
        <p:spPr>
          <a:xfrm>
            <a:off x="2429939" y="4392433"/>
            <a:ext cx="2448433" cy="457200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Less is Mo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B6E3A9B-8724-9752-40C2-BD7B6CAB9131}"/>
              </a:ext>
            </a:extLst>
          </p:cNvPr>
          <p:cNvSpPr txBox="1"/>
          <p:nvPr/>
        </p:nvSpPr>
        <p:spPr>
          <a:xfrm>
            <a:off x="4870704" y="4392433"/>
            <a:ext cx="2441447" cy="457200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Actionis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9C2AB3F-69CC-63A4-B612-C70C876F8EA0}"/>
              </a:ext>
            </a:extLst>
          </p:cNvPr>
          <p:cNvSpPr txBox="1"/>
          <p:nvPr/>
        </p:nvSpPr>
        <p:spPr>
          <a:xfrm>
            <a:off x="7311407" y="4392433"/>
            <a:ext cx="2441475" cy="457200"/>
          </a:xfrm>
          <a:prstGeom prst="rect">
            <a:avLst/>
          </a:prstGeom>
          <a:solidFill>
            <a:schemeClr val="accent6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Manifesting Optimism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9FCDF89-9159-10FA-3159-C4105ABC6197}"/>
              </a:ext>
            </a:extLst>
          </p:cNvPr>
          <p:cNvSpPr txBox="1"/>
          <p:nvPr/>
        </p:nvSpPr>
        <p:spPr>
          <a:xfrm>
            <a:off x="9755212" y="4392433"/>
            <a:ext cx="2439165" cy="457200"/>
          </a:xfrm>
          <a:prstGeom prst="rect">
            <a:avLst/>
          </a:prstGeom>
          <a:solidFill>
            <a:schemeClr val="accent4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Decentral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0A5EFB5-C205-C681-BE74-F7801B9E9D45}"/>
              </a:ext>
            </a:extLst>
          </p:cNvPr>
          <p:cNvGrpSpPr/>
          <p:nvPr/>
        </p:nvGrpSpPr>
        <p:grpSpPr>
          <a:xfrm>
            <a:off x="2428463" y="1481342"/>
            <a:ext cx="7331319" cy="4828032"/>
            <a:chOff x="2428463" y="1481342"/>
            <a:chExt cx="7331319" cy="4828032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71F0054F-1821-AF48-0863-1A9BC925D26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4872236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8B05E5AD-F1DF-9E2D-922E-9FE4F49921D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7316009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F91BE704-3C09-EE2F-819B-C48A5F110CB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9759782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FE812BEE-A66A-4BDA-364A-60FDF36B5749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2428463" y="1481342"/>
              <a:ext cx="0" cy="4828032"/>
            </a:xfrm>
            <a:prstGeom prst="line">
              <a:avLst/>
            </a:prstGeom>
            <a:ln w="127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7228089C-1915-DB03-A346-CA058CE34C02}"/>
              </a:ext>
            </a:extLst>
          </p:cNvPr>
          <p:cNvSpPr txBox="1"/>
          <p:nvPr/>
        </p:nvSpPr>
        <p:spPr>
          <a:xfrm>
            <a:off x="116172" y="5070574"/>
            <a:ext cx="219456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Moving beyond more specific terms like “fitness” or “health” to mean something broader – mental, physical, emotional, proactive &amp; preventive.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939C659-C578-A9E6-FFA8-3FC9F82894E7}"/>
              </a:ext>
            </a:extLst>
          </p:cNvPr>
          <p:cNvSpPr txBox="1"/>
          <p:nvPr/>
        </p:nvSpPr>
        <p:spPr>
          <a:xfrm>
            <a:off x="2559945" y="5070574"/>
            <a:ext cx="219456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Tied to wellness, a belief that scaling down and using less (owning less) is an important contribution to the overall health of Earth and us, by extension.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43DAB25-C281-F5A0-9AC8-BFA9C2BF6CFE}"/>
              </a:ext>
            </a:extLst>
          </p:cNvPr>
          <p:cNvSpPr txBox="1"/>
          <p:nvPr/>
        </p:nvSpPr>
        <p:spPr>
          <a:xfrm>
            <a:off x="4989968" y="5070574"/>
            <a:ext cx="2194560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An expectation that the only way to get change is to agitate for it. The next step in cancel culture, an extension of the demand for greater transparency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4B0FB48-9F81-D827-D4FA-220712D062F8}"/>
              </a:ext>
            </a:extLst>
          </p:cNvPr>
          <p:cNvSpPr txBox="1"/>
          <p:nvPr/>
        </p:nvSpPr>
        <p:spPr>
          <a:xfrm>
            <a:off x="7433741" y="5070574"/>
            <a:ext cx="219456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Weariness of “</a:t>
            </a:r>
            <a:r>
              <a:rPr lang="en-US" sz="1100" err="1"/>
              <a:t>permacrisis</a:t>
            </a:r>
            <a:r>
              <a:rPr lang="en-US" sz="1100"/>
              <a:t>” is leading consumers to focus more on optimism and how to create positive outcomes.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81FA4D16-BA0E-9E20-E12E-57F3F53C3E4A}"/>
              </a:ext>
            </a:extLst>
          </p:cNvPr>
          <p:cNvSpPr txBox="1"/>
          <p:nvPr/>
        </p:nvSpPr>
        <p:spPr>
          <a:xfrm>
            <a:off x="9877514" y="5070574"/>
            <a:ext cx="219456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100"/>
              <a:t>Starting to see the results of decentralized technology, and an accrual of benefits to consumer “creators”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B7DFCE-408F-74E1-CCE0-96F243615ED1}"/>
              </a:ext>
            </a:extLst>
          </p:cNvPr>
          <p:cNvSpPr/>
          <p:nvPr/>
        </p:nvSpPr>
        <p:spPr>
          <a:xfrm>
            <a:off x="-2690" y="1164872"/>
            <a:ext cx="12192002" cy="3133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997042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Placeholder 23" descr="A person standing on a rock with a bright sun behind the&#10;&#10;Description automatically generated with medium confidence">
            <a:extLst>
              <a:ext uri="{FF2B5EF4-FFF2-40B4-BE49-F238E27FC236}">
                <a16:creationId xmlns:a16="http://schemas.microsoft.com/office/drawing/2014/main" id="{63FA5A9D-A029-4573-FE60-91FCD292C7D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97" t="2714" r="41095" b="2355"/>
          <a:stretch/>
        </p:blipFill>
        <p:spPr>
          <a:xfrm>
            <a:off x="0" y="0"/>
            <a:ext cx="3840163" cy="3838575"/>
          </a:xfr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Wellness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4247317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Over-consumption is unhealthy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echnology is being used to make us unhealthy – “dark patterns” “protection from The Algorithm”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Even entertainment &amp; leisure should have “functional” benefit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Loneliness is unhealthy, and there is too much lonelines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“Disposable” is unhealthy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Social media is unhealthy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Resilience is something to invest in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Local is “more healthy” than global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4278094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spc="0"/>
              <a:t>Consumers increasingly expect retailers to help them interrupt ”bad behavior”, like over-consumption – slow consumption</a:t>
            </a:r>
          </a:p>
          <a:p>
            <a:pPr marL="182880" indent="-18288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spc="0" err="1"/>
              <a:t>Retailtainment</a:t>
            </a:r>
            <a:r>
              <a:rPr lang="en-US" sz="1400" spc="0"/>
              <a:t> is not enough – it needs to contribute to wellness and well-being</a:t>
            </a:r>
          </a:p>
          <a:p>
            <a:pPr marL="182880" indent="-18288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spc="0"/>
              <a:t>Retailers and brands are expected </a:t>
            </a:r>
            <a:br>
              <a:rPr lang="en-US" sz="1400" spc="0"/>
            </a:br>
            <a:r>
              <a:rPr lang="en-US" sz="1400" spc="0"/>
              <a:t>to contribute to fostering connections and combatting loneliness – and this needs to be executed at an authentic, local level</a:t>
            </a:r>
          </a:p>
          <a:p>
            <a:pPr marL="182880" indent="-18288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spc="0"/>
              <a:t>Brands need to put an end to “disposable” products and practices (this applies to how they treat employees too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Welln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245379" y="4918216"/>
            <a:ext cx="33494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Moving beyond more specific terms like “fitness” or “health” to mean something broader – mental, physical, emotional, proactive &amp; preventive.</a:t>
            </a:r>
          </a:p>
        </p:txBody>
      </p:sp>
    </p:spTree>
    <p:extLst>
      <p:ext uri="{BB962C8B-B14F-4D97-AF65-F5344CB8AC3E}">
        <p14:creationId xmlns:p14="http://schemas.microsoft.com/office/powerpoint/2010/main" val="26237354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Less is More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3939540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 rejection of unbridled consumerism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Multi-function products over </a:t>
            </a:r>
            <a:br>
              <a:rPr lang="en-US" sz="1400" spc="0"/>
            </a:br>
            <a:r>
              <a:rPr lang="en-US" sz="1400" spc="0"/>
              <a:t>single-purpose or single-us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ied to multi-function – genderless, accessible to all, inclusive, esp. fashion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ech only if it serves/curates for </a:t>
            </a:r>
            <a:br>
              <a:rPr lang="en-US" sz="1400" spc="0"/>
            </a:br>
            <a:r>
              <a:rPr lang="en-US" sz="1400" spc="0"/>
              <a:t>“me” –  simplifie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he rise of young luddites, rejecting </a:t>
            </a:r>
            <a:br>
              <a:rPr lang="en-US" sz="1400" spc="0"/>
            </a:br>
            <a:r>
              <a:rPr lang="en-US" sz="1400" spc="0"/>
              <a:t>the algorithm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Paying attention to how products are made – embracing products that use less, recycle mor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3570208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Assortments need to narrow and focus on multiple uses, non-binary, inclusiv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Retailers are at risk in their use of personalization if it is perceived as promoting “unconscious consumption”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Putting tech less front and center </a:t>
            </a:r>
            <a:br>
              <a:rPr lang="en-US" sz="1400" spc="0"/>
            </a:br>
            <a:r>
              <a:rPr lang="en-US" sz="1400" spc="0"/>
              <a:t>in stores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he 3 R’s: Rental, Resale, Recycle, and bonus R emphasizing consumer reuse/upcycl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Manufacturing, packaging, shipping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Less is Mor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245379" y="4918216"/>
            <a:ext cx="33494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Tied to wellness, a belief that scaling down and using less (owning less) is an important contribution to the overall health of Earth and us, by extension. </a:t>
            </a:r>
          </a:p>
        </p:txBody>
      </p:sp>
      <p:pic>
        <p:nvPicPr>
          <p:cNvPr id="4" name="Picture Placeholder 8" descr="A picture containing sky, tree, outdoor, grass&#10;&#10;Description automatically generated">
            <a:extLst>
              <a:ext uri="{FF2B5EF4-FFF2-40B4-BE49-F238E27FC236}">
                <a16:creationId xmlns:a16="http://schemas.microsoft.com/office/drawing/2014/main" id="{AE933E40-2957-FC25-202D-681CC6C3FD8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0" t="14079" r="28226" b="4359"/>
          <a:stretch/>
        </p:blipFill>
        <p:spPr>
          <a:xfrm>
            <a:off x="0" y="0"/>
            <a:ext cx="3840480" cy="3838410"/>
          </a:xfrm>
        </p:spPr>
      </p:pic>
    </p:spTree>
    <p:extLst>
      <p:ext uri="{BB962C8B-B14F-4D97-AF65-F5344CB8AC3E}">
        <p14:creationId xmlns:p14="http://schemas.microsoft.com/office/powerpoint/2010/main" val="22930952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9C28D42-1FC5-F9B6-53DD-C08DEF390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933" y="579167"/>
            <a:ext cx="7483417" cy="668251"/>
          </a:xfrm>
        </p:spPr>
        <p:txBody>
          <a:bodyPr/>
          <a:lstStyle/>
          <a:p>
            <a:r>
              <a:rPr lang="en-US"/>
              <a:t>Actionist</a:t>
            </a:r>
          </a:p>
        </p:txBody>
      </p:sp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2757A360-3468-C1E6-379B-088FF32B7D62}"/>
              </a:ext>
            </a:extLst>
          </p:cNvPr>
          <p:cNvSpPr txBox="1">
            <a:spLocks/>
          </p:cNvSpPr>
          <p:nvPr/>
        </p:nvSpPr>
        <p:spPr>
          <a:xfrm>
            <a:off x="4288933" y="1432619"/>
            <a:ext cx="3657600" cy="3477875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600" b="1" spc="0"/>
              <a:t>Consumer Driver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Being “authentic” or passively contributing is no longer enough – companies must be actively making things better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Transparency expectations are rising – tech should be used to provide “radical” transparency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/>
              <a:t>It’s not enough to “cancel” a company for something a consumer doesn’t like – they have to actively engage with </a:t>
            </a:r>
            <a:br>
              <a:rPr lang="en-US" sz="1400" spc="0"/>
            </a:br>
            <a:r>
              <a:rPr lang="en-US" sz="1400" spc="0"/>
              <a:t>the company to change. Boycotts are not enough.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534AD675-832F-338B-01B6-A7F7152FFEA7}"/>
              </a:ext>
            </a:extLst>
          </p:cNvPr>
          <p:cNvSpPr txBox="1">
            <a:spLocks/>
          </p:cNvSpPr>
          <p:nvPr/>
        </p:nvSpPr>
        <p:spPr>
          <a:xfrm>
            <a:off x="8114750" y="1432619"/>
            <a:ext cx="3657600" cy="3046988"/>
          </a:xfrm>
          <a:prstGeom prst="rect">
            <a:avLst/>
          </a:prstGeom>
        </p:spPr>
        <p:txBody>
          <a:bodyPr vert="horz" lIns="182880" tIns="91440" rIns="182880" bIns="91440" rtlCol="0">
            <a:spAutoFit/>
          </a:bodyPr>
          <a:lstStyle>
            <a:lvl1pPr marL="228600" indent="-228600" algn="l" defTabSz="1018779" rtl="0" eaLnBrk="1" latinLnBrk="0" hangingPunct="1">
              <a:spcBef>
                <a:spcPts val="900"/>
              </a:spcBef>
              <a:buClr>
                <a:schemeClr val="accent4">
                  <a:lumMod val="60000"/>
                  <a:lumOff val="40000"/>
                </a:schemeClr>
              </a:buClr>
              <a:buSzPct val="100000"/>
              <a:buFont typeface="Arial" panose="020B0604020202020204" pitchFamily="34" charset="0"/>
              <a:buChar char="•"/>
              <a:defRPr sz="20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1pPr>
            <a:lvl2pPr marL="457200" indent="-22860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8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2pPr>
            <a:lvl3pPr marL="685800" indent="-182880" algn="l" defTabSz="1018779" rtl="0" eaLnBrk="1" latinLnBrk="0" hangingPunct="1">
              <a:spcBef>
                <a:spcPts val="4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6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914400" indent="-155448" algn="l" defTabSz="1018779" rtl="0" eaLnBrk="1" latinLnBrk="0" hangingPunct="1">
              <a:spcBef>
                <a:spcPts val="3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4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1188720" indent="-137160" algn="l" defTabSz="1018779" rtl="0" eaLnBrk="1" latinLnBrk="0" hangingPunct="1">
              <a:spcBef>
                <a:spcPts val="200"/>
              </a:spcBef>
              <a:buClr>
                <a:schemeClr val="accent4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 kern="1200" spc="-27" baseline="0">
                <a:solidFill>
                  <a:schemeClr val="tx1"/>
                </a:solidFill>
                <a:latin typeface="+mn-lt"/>
                <a:ea typeface="Roboto" panose="02000000000000000000" pitchFamily="2" charset="0"/>
                <a:cs typeface="+mn-cs"/>
              </a:defRPr>
            </a:lvl5pPr>
            <a:lvl6pPr marL="280164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1034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2042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9813" indent="-254694" algn="l" defTabSz="101877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2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spc="0" dirty="0"/>
              <a:t>Retail Implications: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Greenwashing is a death knell </a:t>
            </a:r>
            <a:br>
              <a:rPr lang="en-US" sz="1400" spc="0" dirty="0"/>
            </a:br>
            <a:r>
              <a:rPr lang="en-US" sz="1400" spc="0" dirty="0"/>
              <a:t>– and it’s not enough to reduce impact. Investment has to offset past impact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Expectations of seeing all the way into the supply chain – meeting the people</a:t>
            </a:r>
          </a:p>
          <a:p>
            <a:pPr marL="182880" indent="-182880">
              <a:spcBef>
                <a:spcPts val="1200"/>
              </a:spcBef>
            </a:pPr>
            <a:r>
              <a:rPr lang="en-US" sz="1400" spc="0" dirty="0"/>
              <a:t>Expect much more intense </a:t>
            </a:r>
            <a:br>
              <a:rPr lang="en-US" sz="1400" spc="0" dirty="0"/>
            </a:br>
            <a:r>
              <a:rPr lang="en-US" sz="1400" spc="0" dirty="0"/>
              <a:t>blowbacks for missteps. Expect that simple apologies are not enough and that symbolic gestures will only fan </a:t>
            </a:r>
            <a:br>
              <a:rPr lang="en-US" sz="1400" spc="0" dirty="0"/>
            </a:br>
            <a:r>
              <a:rPr lang="en-US" sz="1400" spc="0" dirty="0"/>
              <a:t>the flam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CC1BB92-70CF-6877-86E1-B3DFB3347377}"/>
              </a:ext>
            </a:extLst>
          </p:cNvPr>
          <p:cNvSpPr/>
          <p:nvPr/>
        </p:nvSpPr>
        <p:spPr>
          <a:xfrm>
            <a:off x="0" y="4480870"/>
            <a:ext cx="3840163" cy="1828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3DC88FC-614C-19BD-D560-4E41E1268AB5}"/>
              </a:ext>
            </a:extLst>
          </p:cNvPr>
          <p:cNvSpPr/>
          <p:nvPr/>
        </p:nvSpPr>
        <p:spPr>
          <a:xfrm>
            <a:off x="0" y="3838410"/>
            <a:ext cx="3840163" cy="642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>
                <a:solidFill>
                  <a:schemeClr val="bg1"/>
                </a:solidFill>
              </a:rPr>
              <a:t>Actionist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72766B-0780-4612-EC93-0EA7573E0492}"/>
              </a:ext>
            </a:extLst>
          </p:cNvPr>
          <p:cNvSpPr txBox="1"/>
          <p:nvPr/>
        </p:nvSpPr>
        <p:spPr>
          <a:xfrm>
            <a:off x="245379" y="4918216"/>
            <a:ext cx="334940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An expectation that the only way to get change is to agitate for it. The next step in cancel culture, an extension of the demand for greater transparency.</a:t>
            </a:r>
          </a:p>
        </p:txBody>
      </p:sp>
      <p:pic>
        <p:nvPicPr>
          <p:cNvPr id="5" name="Picture Placeholder 8" descr="A person holding a sign&#10;&#10;Description automatically generated">
            <a:extLst>
              <a:ext uri="{FF2B5EF4-FFF2-40B4-BE49-F238E27FC236}">
                <a16:creationId xmlns:a16="http://schemas.microsoft.com/office/drawing/2014/main" id="{D9341B58-C22C-711F-F9C1-F2E09A01331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77" t="907" r="22445" b="2804"/>
          <a:stretch/>
        </p:blipFill>
        <p:spPr>
          <a:xfrm>
            <a:off x="0" y="0"/>
            <a:ext cx="3840480" cy="3838410"/>
          </a:xfrm>
        </p:spPr>
      </p:pic>
    </p:spTree>
    <p:extLst>
      <p:ext uri="{BB962C8B-B14F-4D97-AF65-F5344CB8AC3E}">
        <p14:creationId xmlns:p14="http://schemas.microsoft.com/office/powerpoint/2010/main" val="287955088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nqcilRWO1zMyx0AJuwqA"/>
</p:tagLst>
</file>

<file path=ppt/theme/theme1.xml><?xml version="1.0" encoding="utf-8"?>
<a:theme xmlns:a="http://schemas.openxmlformats.org/drawingml/2006/main" name="Aptos Theme">
  <a:themeElements>
    <a:clrScheme name="Aptos Revionics">
      <a:dk1>
        <a:srgbClr val="63666A"/>
      </a:dk1>
      <a:lt1>
        <a:srgbClr val="FFFFFF"/>
      </a:lt1>
      <a:dk2>
        <a:srgbClr val="313335"/>
      </a:dk2>
      <a:lt2>
        <a:srgbClr val="FFFFFF"/>
      </a:lt2>
      <a:accent1>
        <a:srgbClr val="E56A54"/>
      </a:accent1>
      <a:accent2>
        <a:srgbClr val="F0B323"/>
      </a:accent2>
      <a:accent3>
        <a:srgbClr val="A7A8AA"/>
      </a:accent3>
      <a:accent4>
        <a:srgbClr val="326295"/>
      </a:accent4>
      <a:accent5>
        <a:srgbClr val="64CCC9"/>
      </a:accent5>
      <a:accent6>
        <a:srgbClr val="C4D600"/>
      </a:accent6>
      <a:hlink>
        <a:srgbClr val="00AEEF"/>
      </a:hlink>
      <a:folHlink>
        <a:srgbClr val="26275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a80dfc9-2691-4244-88e4-ca93a7b3bd27">
      <UserInfo>
        <DisplayName>Dave Bruno</DisplayName>
        <AccountId>17</AccountId>
        <AccountType/>
      </UserInfo>
      <UserInfo>
        <DisplayName>Chris Cottos</DisplayName>
        <AccountId>56</AccountId>
        <AccountType/>
      </UserInfo>
      <UserInfo>
        <DisplayName>Mike Hughes</DisplayName>
        <AccountId>226</AccountId>
        <AccountType/>
      </UserInfo>
      <UserInfo>
        <DisplayName>Helen Fourtounis</DisplayName>
        <AccountId>137</AccountId>
        <AccountType/>
      </UserInfo>
      <UserInfo>
        <DisplayName>Steve Panetta</DisplayName>
        <AccountId>15</AccountId>
        <AccountType/>
      </UserInfo>
      <UserInfo>
        <DisplayName>Giada Pezzini</DisplayName>
        <AccountId>317</AccountId>
        <AccountType/>
      </UserInfo>
      <UserInfo>
        <DisplayName>Matthew Pavich</DisplayName>
        <AccountId>19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EB0912BCCB9B744A422E96E8AA955DF" ma:contentTypeVersion="6" ma:contentTypeDescription="Create a new document." ma:contentTypeScope="" ma:versionID="e9f2c4f3d88bc15d73b6af966c5bc072">
  <xsd:schema xmlns:xsd="http://www.w3.org/2001/XMLSchema" xmlns:xs="http://www.w3.org/2001/XMLSchema" xmlns:p="http://schemas.microsoft.com/office/2006/metadata/properties" xmlns:ns2="6a80dfc9-2691-4244-88e4-ca93a7b3bd27" xmlns:ns3="5d84d39d-f9d2-4900-ba94-aa4efe8d1347" targetNamespace="http://schemas.microsoft.com/office/2006/metadata/properties" ma:root="true" ma:fieldsID="a7493fe17816c6030f4535ae52679e63" ns2:_="" ns3:_="">
    <xsd:import namespace="6a80dfc9-2691-4244-88e4-ca93a7b3bd27"/>
    <xsd:import namespace="5d84d39d-f9d2-4900-ba94-aa4efe8d134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80dfc9-2691-4244-88e4-ca93a7b3bd2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4d39d-f9d2-4900-ba94-aa4efe8d134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2C1384-6625-445A-9C58-D236701DCBF7}">
  <ds:schemaRefs>
    <ds:schemaRef ds:uri="http://purl.org/dc/elements/1.1/"/>
    <ds:schemaRef ds:uri="http://purl.org/dc/dcmitype/"/>
    <ds:schemaRef ds:uri="5d84d39d-f9d2-4900-ba94-aa4efe8d1347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www.w3.org/XML/1998/namespace"/>
    <ds:schemaRef ds:uri="http://schemas.microsoft.com/office/2006/metadata/properties"/>
    <ds:schemaRef ds:uri="6a80dfc9-2691-4244-88e4-ca93a7b3bd27"/>
  </ds:schemaRefs>
</ds:datastoreItem>
</file>

<file path=customXml/itemProps2.xml><?xml version="1.0" encoding="utf-8"?>
<ds:datastoreItem xmlns:ds="http://schemas.openxmlformats.org/officeDocument/2006/customXml" ds:itemID="{3C737373-0320-4FFF-840E-0FF9D32A21C0}">
  <ds:schemaRefs>
    <ds:schemaRef ds:uri="5d84d39d-f9d2-4900-ba94-aa4efe8d1347"/>
    <ds:schemaRef ds:uri="6a80dfc9-2691-4244-88e4-ca93a7b3bd2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571FAE8-6BFA-4BD7-BC35-8B423275EF5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</TotalTime>
  <Words>2696</Words>
  <Application>Microsoft Macintosh PowerPoint</Application>
  <PresentationFormat>Widescreen</PresentationFormat>
  <Paragraphs>250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7" baseType="lpstr">
      <vt:lpstr>Arial</vt:lpstr>
      <vt:lpstr>Calibri</vt:lpstr>
      <vt:lpstr>Open Sans Light</vt:lpstr>
      <vt:lpstr>Roboto Condensed</vt:lpstr>
      <vt:lpstr>Roboto Light</vt:lpstr>
      <vt:lpstr>Aptos Theme</vt:lpstr>
      <vt:lpstr>think-cell Slide</vt:lpstr>
      <vt:lpstr>What Retailers Should Expect from Consumers in 2024 and Beyond</vt:lpstr>
      <vt:lpstr>A Process</vt:lpstr>
      <vt:lpstr>Expectations 2023 vs 2024</vt:lpstr>
      <vt:lpstr>Generative AI: Lots of hype, less reality</vt:lpstr>
      <vt:lpstr>Five Dominant Consumer Behaviors in 2023</vt:lpstr>
      <vt:lpstr>How these are trending in 2024</vt:lpstr>
      <vt:lpstr>Wellness</vt:lpstr>
      <vt:lpstr>Less is More</vt:lpstr>
      <vt:lpstr>Actionist</vt:lpstr>
      <vt:lpstr>Actionist</vt:lpstr>
      <vt:lpstr>Respectavist</vt:lpstr>
      <vt:lpstr>Manifesting Optimism</vt:lpstr>
      <vt:lpstr>Manifesting Optimism</vt:lpstr>
      <vt:lpstr>Embracing the Mess</vt:lpstr>
      <vt:lpstr>Decentral</vt:lpstr>
      <vt:lpstr>Decentral</vt:lpstr>
      <vt:lpstr>Uncategorizable</vt:lpstr>
      <vt:lpstr>Four Key Consumer Behavior Questions in 2024</vt:lpstr>
      <vt:lpstr>Retailer Priorities</vt:lpstr>
      <vt:lpstr>Thank You! and Questions?</vt:lpstr>
    </vt:vector>
  </TitlesOfParts>
  <Company>Epicor cor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ve Panetta</dc:creator>
  <cp:lastModifiedBy>Nikki Baird</cp:lastModifiedBy>
  <cp:revision>2</cp:revision>
  <dcterms:created xsi:type="dcterms:W3CDTF">2015-06-13T15:44:40Z</dcterms:created>
  <dcterms:modified xsi:type="dcterms:W3CDTF">2024-05-07T02:3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EB0912BCCB9B744A422E96E8AA955DF</vt:lpwstr>
  </property>
  <property fmtid="{D5CDD505-2E9C-101B-9397-08002B2CF9AE}" pid="3" name="MSIP_Label_df9c380a-9d84-4c8e-83d3-96826a4462a6_Enabled">
    <vt:lpwstr>true</vt:lpwstr>
  </property>
  <property fmtid="{D5CDD505-2E9C-101B-9397-08002B2CF9AE}" pid="4" name="MSIP_Label_df9c380a-9d84-4c8e-83d3-96826a4462a6_SetDate">
    <vt:lpwstr>2024-04-23T21:29:34Z</vt:lpwstr>
  </property>
  <property fmtid="{D5CDD505-2E9C-101B-9397-08002B2CF9AE}" pid="5" name="MSIP_Label_df9c380a-9d84-4c8e-83d3-96826a4462a6_Method">
    <vt:lpwstr>Standard</vt:lpwstr>
  </property>
  <property fmtid="{D5CDD505-2E9C-101B-9397-08002B2CF9AE}" pid="6" name="MSIP_Label_df9c380a-9d84-4c8e-83d3-96826a4462a6_Name">
    <vt:lpwstr>defa4170-0d19-0005-0004-bc88714345d2</vt:lpwstr>
  </property>
  <property fmtid="{D5CDD505-2E9C-101B-9397-08002B2CF9AE}" pid="7" name="MSIP_Label_df9c380a-9d84-4c8e-83d3-96826a4462a6_SiteId">
    <vt:lpwstr>831f3b83-de07-4b45-aa1a-311d273f0eb2</vt:lpwstr>
  </property>
  <property fmtid="{D5CDD505-2E9C-101B-9397-08002B2CF9AE}" pid="8" name="MSIP_Label_df9c380a-9d84-4c8e-83d3-96826a4462a6_ActionId">
    <vt:lpwstr>2701b968-42cc-4f4d-939a-eaa30007d528</vt:lpwstr>
  </property>
  <property fmtid="{D5CDD505-2E9C-101B-9397-08002B2CF9AE}" pid="9" name="MSIP_Label_df9c380a-9d84-4c8e-83d3-96826a4462a6_ContentBits">
    <vt:lpwstr>0</vt:lpwstr>
  </property>
</Properties>
</file>